
<file path=[Content_Types].xml><?xml version="1.0" encoding="utf-8"?>
<Types xmlns="http://schemas.openxmlformats.org/package/2006/content-types">
  <Default Extension="png" ContentType="image/png"/>
  <Default Extension="jfif" ContentType="image/jpeg"/>
  <Default Extension="bin" ContentType="application/vnd.openxmlformats-officedocument.oleObject"/>
  <Default Extension="svg" ContentType="image/svg+xml"/>
  <Default Extension="jpeg" ContentType="image/jpeg"/>
  <Default Extension="wmf" ContentType="image/x-wmf"/>
  <Default Extension="emf" ContentType="image/x-emf"/>
  <Default Extension="rels" ContentType="application/vnd.openxmlformats-package.relationships+xml"/>
  <Default Extension="xml" ContentType="application/xml"/>
  <Default Extension="ti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6" r:id="rId2"/>
    <p:sldMasterId id="2147483694" r:id="rId3"/>
  </p:sldMasterIdLst>
  <p:notesMasterIdLst>
    <p:notesMasterId r:id="rId16"/>
  </p:notesMasterIdLst>
  <p:handoutMasterIdLst>
    <p:handoutMasterId r:id="rId17"/>
  </p:handoutMasterIdLst>
  <p:sldIdLst>
    <p:sldId id="277" r:id="rId4"/>
    <p:sldId id="462" r:id="rId5"/>
    <p:sldId id="463" r:id="rId6"/>
    <p:sldId id="339" r:id="rId7"/>
    <p:sldId id="569" r:id="rId8"/>
    <p:sldId id="570" r:id="rId9"/>
    <p:sldId id="571" r:id="rId10"/>
    <p:sldId id="572" r:id="rId11"/>
    <p:sldId id="573" r:id="rId12"/>
    <p:sldId id="574" r:id="rId13"/>
    <p:sldId id="389" r:id="rId14"/>
    <p:sldId id="368" r:id="rId15"/>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lte Pollmann" initials="MP" lastIdx="4" clrIdx="0">
    <p:extLst>
      <p:ext uri="{19B8F6BF-5375-455C-9EA6-DF929625EA0E}">
        <p15:presenceInfo xmlns:p15="http://schemas.microsoft.com/office/powerpoint/2012/main" userId="S-1-5-21-3754234946-1255656804-1886851710-11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9397"/>
    <a:srgbClr val="93979B"/>
    <a:srgbClr val="8F9597"/>
    <a:srgbClr val="0085C0"/>
    <a:srgbClr val="009FE4"/>
    <a:srgbClr val="0072CD"/>
    <a:srgbClr val="7B8385"/>
    <a:srgbClr val="B4B5B4"/>
    <a:srgbClr val="77AECF"/>
    <a:srgbClr val="EB8B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19" autoAdjust="0"/>
    <p:restoredTop sz="95285" autoAdjust="0"/>
  </p:normalViewPr>
  <p:slideViewPr>
    <p:cSldViewPr snapToGrid="0">
      <p:cViewPr varScale="1">
        <p:scale>
          <a:sx n="71" d="100"/>
          <a:sy n="71" d="100"/>
        </p:scale>
        <p:origin x="546" y="6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4579"/>
    </p:cViewPr>
  </p:sorterViewPr>
  <p:notesViewPr>
    <p:cSldViewPr snapToGrid="0" showGuides="1">
      <p:cViewPr varScale="1">
        <p:scale>
          <a:sx n="90" d="100"/>
          <a:sy n="90" d="100"/>
        </p:scale>
        <p:origin x="285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1" y="9027795"/>
            <a:ext cx="7313507" cy="573405"/>
          </a:xfrm>
          <a:prstGeom prst="rect">
            <a:avLst/>
          </a:prstGeom>
          <a:solidFill>
            <a:srgbClr val="C5C5C6"/>
          </a:solidFill>
          <a:ln>
            <a:solidFill>
              <a:srgbClr val="EBEB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endParaRPr>
          </a:p>
        </p:txBody>
      </p:sp>
      <p:sp>
        <p:nvSpPr>
          <p:cNvPr id="2" name="Header Placeholder 1"/>
          <p:cNvSpPr>
            <a:spLocks noGrp="1"/>
          </p:cNvSpPr>
          <p:nvPr>
            <p:ph type="hdr" sz="quarter"/>
          </p:nvPr>
        </p:nvSpPr>
        <p:spPr>
          <a:xfrm>
            <a:off x="1" y="0"/>
            <a:ext cx="3169920" cy="481728"/>
          </a:xfrm>
          <a:prstGeom prst="rect">
            <a:avLst/>
          </a:prstGeom>
        </p:spPr>
        <p:txBody>
          <a:bodyPr vert="horz" lIns="91440" tIns="45720" rIns="91440" bIns="45720" rtlCol="0"/>
          <a:lstStyle>
            <a:lvl1pPr algn="l">
              <a:defRPr sz="1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587" y="0"/>
            <a:ext cx="3169920" cy="481728"/>
          </a:xfrm>
          <a:prstGeom prst="rect">
            <a:avLst/>
          </a:prstGeom>
        </p:spPr>
        <p:txBody>
          <a:bodyPr vert="horz" lIns="91440" tIns="45720" rIns="91440" bIns="45720" rtlCol="0"/>
          <a:lstStyle>
            <a:lvl1pPr algn="r">
              <a:defRPr sz="1200"/>
            </a:lvl1pPr>
          </a:lstStyle>
          <a:p>
            <a:fld id="{6C0EB5DB-6D72-4200-9528-DEEB631B59DB}" type="datetimeFigureOut">
              <a:rPr lang="en-US" smtClean="0">
                <a:latin typeface="Arial" panose="020B0604020202020204" pitchFamily="34" charset="0"/>
              </a:rPr>
              <a:t>5/16/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1" y="9119474"/>
            <a:ext cx="3169920" cy="481727"/>
          </a:xfrm>
          <a:prstGeom prst="rect">
            <a:avLst/>
          </a:prstGeom>
        </p:spPr>
        <p:txBody>
          <a:bodyPr vert="horz" lIns="91440" tIns="45720" rIns="91440" bIns="45720" rtlCol="0" anchor="b"/>
          <a:lstStyle>
            <a:lvl1pPr algn="l">
              <a:defRPr sz="1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587" y="9119474"/>
            <a:ext cx="3169920" cy="481727"/>
          </a:xfrm>
          <a:prstGeom prst="rect">
            <a:avLst/>
          </a:prstGeom>
        </p:spPr>
        <p:txBody>
          <a:bodyPr vert="horz" lIns="91440" tIns="45720" rIns="91440" bIns="45720" rtlCol="0" anchor="b"/>
          <a:lstStyle>
            <a:lvl1pPr algn="r">
              <a:defRPr sz="1200"/>
            </a:lvl1pPr>
          </a:lstStyle>
          <a:p>
            <a:fld id="{92A6C710-529C-45B8-A9DA-3E1AFFA9FF63}" type="slidenum">
              <a:rPr lang="en-US" smtClean="0">
                <a:latin typeface="Arial" panose="020B0604020202020204" pitchFamily="34" charset="0"/>
              </a:rPr>
              <a:t>‹#›</a:t>
            </a:fld>
            <a:endParaRPr lang="en-US" dirty="0">
              <a:latin typeface="Arial" panose="020B0604020202020204" pitchFamily="34" charset="0"/>
            </a:endParaRPr>
          </a:p>
        </p:txBody>
      </p:sp>
      <p:sp>
        <p:nvSpPr>
          <p:cNvPr id="6" name="Rectangle 5"/>
          <p:cNvSpPr/>
          <p:nvPr/>
        </p:nvSpPr>
        <p:spPr>
          <a:xfrm>
            <a:off x="1486644" y="693364"/>
            <a:ext cx="5826864" cy="480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endParaRPr>
          </a:p>
        </p:txBody>
      </p:sp>
      <p:sp>
        <p:nvSpPr>
          <p:cNvPr id="7" name="Rectangle 6"/>
          <p:cNvSpPr/>
          <p:nvPr/>
        </p:nvSpPr>
        <p:spPr>
          <a:xfrm>
            <a:off x="3" y="693364"/>
            <a:ext cx="894073" cy="480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endParaRPr>
          </a:p>
        </p:txBody>
      </p:sp>
      <p:sp>
        <p:nvSpPr>
          <p:cNvPr id="8" name="Rectangle 7"/>
          <p:cNvSpPr/>
          <p:nvPr/>
        </p:nvSpPr>
        <p:spPr>
          <a:xfrm>
            <a:off x="998361" y="693364"/>
            <a:ext cx="384000" cy="48005"/>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latin typeface="Arial" panose="020B0604020202020204" pitchFamily="34" charset="0"/>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42433" y="200693"/>
            <a:ext cx="1390244" cy="307077"/>
          </a:xfrm>
          <a:prstGeom prst="rect">
            <a:avLst/>
          </a:prstGeom>
        </p:spPr>
      </p:pic>
      <p:sp>
        <p:nvSpPr>
          <p:cNvPr id="11" name="TextBox 10"/>
          <p:cNvSpPr txBox="1"/>
          <p:nvPr/>
        </p:nvSpPr>
        <p:spPr>
          <a:xfrm>
            <a:off x="494585" y="9130025"/>
            <a:ext cx="3338289" cy="382509"/>
          </a:xfrm>
          <a:prstGeom prst="rect">
            <a:avLst/>
          </a:prstGeom>
        </p:spPr>
        <p:txBody>
          <a:bodyPr vert="horz" lIns="91440" tIns="45720" rIns="91440" bIns="45720" rtlCol="0" anchor="ctr"/>
          <a:lstStyle>
            <a:defPPr>
              <a:defRPr lang="en-US"/>
            </a:defPPr>
            <a:lvl1pPr>
              <a:defRPr sz="800">
                <a:solidFill>
                  <a:schemeClr val="bg1"/>
                </a:solidFill>
                <a:latin typeface="Arial" panose="020B0604020202020204" pitchFamily="34" charset="0"/>
                <a:cs typeface="Arial" panose="020B0604020202020204" pitchFamily="34" charset="0"/>
              </a:defRPr>
            </a:lvl1pPr>
          </a:lstStyle>
          <a:p>
            <a:pPr lvl="0"/>
            <a:r>
              <a:rPr lang="en-US" sz="600" dirty="0"/>
              <a:t>Utimaco HSM Business Unit  ·  Aachen, Germany ·  ©2016</a:t>
            </a:r>
          </a:p>
        </p:txBody>
      </p:sp>
      <p:sp>
        <p:nvSpPr>
          <p:cNvPr id="12" name="TextBox 11"/>
          <p:cNvSpPr txBox="1"/>
          <p:nvPr/>
        </p:nvSpPr>
        <p:spPr>
          <a:xfrm>
            <a:off x="1905301" y="9083615"/>
            <a:ext cx="3502906" cy="475329"/>
          </a:xfrm>
          <a:prstGeom prst="rect">
            <a:avLst/>
          </a:prstGeom>
        </p:spPr>
        <p:txBody>
          <a:bodyPr vert="horz" wrap="square" lIns="91440" tIns="45720" rIns="91440" bIns="45720" rtlCol="0" anchor="ctr">
            <a:normAutofit/>
          </a:bodyPr>
          <a:lstStyle/>
          <a:p>
            <a:pPr algn="ctr"/>
            <a:r>
              <a:rPr lang="en-US" sz="600" kern="1200" dirty="0">
                <a:solidFill>
                  <a:schemeClr val="bg1"/>
                </a:solidFill>
                <a:latin typeface="Arial" panose="020B0604020202020204" pitchFamily="34" charset="0"/>
                <a:ea typeface="+mn-ea"/>
                <a:cs typeface="Arial" panose="020B0604020202020204" pitchFamily="34" charset="0"/>
              </a:rPr>
              <a:t>hsm.utimaco.com</a:t>
            </a:r>
          </a:p>
        </p:txBody>
      </p:sp>
      <p:sp>
        <p:nvSpPr>
          <p:cNvPr id="13" name="TextBox 12"/>
          <p:cNvSpPr txBox="1"/>
          <p:nvPr/>
        </p:nvSpPr>
        <p:spPr>
          <a:xfrm>
            <a:off x="3892845" y="9122807"/>
            <a:ext cx="2926080" cy="383382"/>
          </a:xfrm>
          <a:prstGeom prst="rect">
            <a:avLst/>
          </a:prstGeom>
        </p:spPr>
        <p:txBody>
          <a:bodyPr vert="horz" wrap="square" lIns="91440" tIns="45720" rIns="91440" bIns="45720" rtlCol="0" anchor="ctr">
            <a:normAutofit/>
          </a:bodyPr>
          <a:lstStyle/>
          <a:p>
            <a:pPr algn="r"/>
            <a:r>
              <a:rPr lang="en-US" sz="600" kern="1200" dirty="0">
                <a:solidFill>
                  <a:schemeClr val="bg1"/>
                </a:solidFill>
                <a:latin typeface="Arial" panose="020B0604020202020204" pitchFamily="34" charset="0"/>
                <a:ea typeface="+mn-ea"/>
                <a:cs typeface="Arial" panose="020B0604020202020204" pitchFamily="34" charset="0"/>
              </a:rPr>
              <a:t>Page </a:t>
            </a:r>
            <a:fld id="{5D1E2CFF-DC63-4689-905B-F42B50AEB7DB}" type="slidenum">
              <a:rPr lang="en-US" sz="600" kern="1200" smtClean="0">
                <a:solidFill>
                  <a:schemeClr val="bg1"/>
                </a:solidFill>
                <a:latin typeface="Arial" panose="020B0604020202020204" pitchFamily="34" charset="0"/>
                <a:ea typeface="+mn-ea"/>
                <a:cs typeface="Arial" panose="020B0604020202020204" pitchFamily="34" charset="0"/>
              </a:rPr>
              <a:t>‹#›</a:t>
            </a:fld>
            <a:endParaRPr lang="en-US" sz="600" kern="1200" dirty="0">
              <a:solidFill>
                <a:schemeClr val="bg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228871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69920" cy="48172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7" y="0"/>
            <a:ext cx="3169920" cy="481728"/>
          </a:xfrm>
          <a:prstGeom prst="rect">
            <a:avLst/>
          </a:prstGeom>
        </p:spPr>
        <p:txBody>
          <a:bodyPr vert="horz" lIns="91440" tIns="45720" rIns="91440" bIns="45720" rtlCol="0"/>
          <a:lstStyle>
            <a:lvl1pPr algn="r">
              <a:defRPr sz="1200">
                <a:latin typeface="Arial" panose="020B0604020202020204" pitchFamily="34" charset="0"/>
              </a:defRPr>
            </a:lvl1pPr>
          </a:lstStyle>
          <a:p>
            <a:fld id="{B0C59116-F2C5-4418-9637-B6802A645632}" type="datetimeFigureOut">
              <a:rPr lang="en-US" smtClean="0"/>
              <a:pPr/>
              <a:t>5/16/2019</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31520" y="4620578"/>
            <a:ext cx="5852160" cy="378047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119474"/>
            <a:ext cx="3169920" cy="48172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7" y="9119474"/>
            <a:ext cx="3169920" cy="48172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ACD1330-B717-4F65-9953-31B6ED6A145C}" type="slidenum">
              <a:rPr lang="en-US" smtClean="0"/>
              <a:pPr/>
              <a:t>‹#›</a:t>
            </a:fld>
            <a:endParaRPr lang="en-US" dirty="0"/>
          </a:p>
        </p:txBody>
      </p:sp>
    </p:spTree>
    <p:extLst>
      <p:ext uri="{BB962C8B-B14F-4D97-AF65-F5344CB8AC3E}">
        <p14:creationId xmlns:p14="http://schemas.microsoft.com/office/powerpoint/2010/main" val="2157776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CD1330-B717-4F65-9953-31B6ED6A145C}" type="slidenum">
              <a:rPr lang="en-US" smtClean="0"/>
              <a:t>1</a:t>
            </a:fld>
            <a:endParaRPr lang="en-US"/>
          </a:p>
        </p:txBody>
      </p:sp>
    </p:spTree>
    <p:extLst>
      <p:ext uri="{BB962C8B-B14F-4D97-AF65-F5344CB8AC3E}">
        <p14:creationId xmlns:p14="http://schemas.microsoft.com/office/powerpoint/2010/main" val="3457459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DACD1330-B717-4F65-9953-31B6ED6A145C}" type="slidenum">
              <a:rPr lang="en-US" smtClean="0"/>
              <a:t>2</a:t>
            </a:fld>
            <a:endParaRPr lang="en-US"/>
          </a:p>
        </p:txBody>
      </p:sp>
    </p:spTree>
    <p:extLst>
      <p:ext uri="{BB962C8B-B14F-4D97-AF65-F5344CB8AC3E}">
        <p14:creationId xmlns:p14="http://schemas.microsoft.com/office/powerpoint/2010/main" val="2975071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0742D625-1E0C-49AD-AA98-CDF32058D493}" type="slidenum">
              <a:rPr lang="de-DE" smtClean="0"/>
              <a:t>3</a:t>
            </a:fld>
            <a:endParaRPr lang="de-DE"/>
          </a:p>
        </p:txBody>
      </p:sp>
    </p:spTree>
    <p:extLst>
      <p:ext uri="{BB962C8B-B14F-4D97-AF65-F5344CB8AC3E}">
        <p14:creationId xmlns:p14="http://schemas.microsoft.com/office/powerpoint/2010/main" val="1433606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DACD1330-B717-4F65-9953-31B6ED6A145C}" type="slidenum">
              <a:rPr lang="en-US" smtClean="0"/>
              <a:t>4</a:t>
            </a:fld>
            <a:endParaRPr lang="en-US"/>
          </a:p>
        </p:txBody>
      </p:sp>
    </p:spTree>
    <p:extLst>
      <p:ext uri="{BB962C8B-B14F-4D97-AF65-F5344CB8AC3E}">
        <p14:creationId xmlns:p14="http://schemas.microsoft.com/office/powerpoint/2010/main" val="3446372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Our HSM portfolio is based on 2 hardware platforms: CryptoServer Se-Series, a FIPS 140-2 Level 3 validated platform; and CryptoServer CSe Series, being overall FIPS Level 3 validated, but offering a higher physical security that is FIPS Level 4 compliant.</a:t>
            </a:r>
          </a:p>
          <a:p>
            <a:r>
              <a:rPr lang="en-US" baseline="0" dirty="0"/>
              <a:t>Both platforms come with multiple performance grades, where the high-speed models of CryptoServer Se-Series incorporate a hardware crypto accelerator.</a:t>
            </a:r>
          </a:p>
          <a:p>
            <a:r>
              <a:rPr lang="en-US" baseline="0" dirty="0"/>
              <a:t>All models are available both as PCI Express plug-in card and as 19” network attached appliance. CryptoServer Se-Series HSMs can additionally be rented in the cloud, i.e. in a HSM as a Service business model.</a:t>
            </a:r>
          </a:p>
          <a:p>
            <a:r>
              <a:rPr lang="en-US" baseline="0" dirty="0"/>
              <a:t>They all share the same software architecture, functionality, cryptographic support, administration concepts etc. They all behave the same from an application and user perspective; and mixed installations of CryptoServer CSe-Series and Se-Series, as well as mixed installations of PCIe plug-in cards and CryptoServer LAN appliances, can be setup.</a:t>
            </a:r>
          </a:p>
          <a:p>
            <a:r>
              <a:rPr lang="de-DE" baseline="0" dirty="0"/>
              <a:t>CryptoServer Se-Series </a:t>
            </a:r>
            <a:r>
              <a:rPr lang="de-DE" baseline="0" dirty="0" err="1"/>
              <a:t>and</a:t>
            </a:r>
            <a:r>
              <a:rPr lang="de-DE" baseline="0" dirty="0"/>
              <a:t> CSe-Series </a:t>
            </a:r>
            <a:r>
              <a:rPr lang="de-DE" baseline="0" dirty="0" err="1"/>
              <a:t>platforms</a:t>
            </a:r>
            <a:r>
              <a:rPr lang="de-DE" baseline="0" dirty="0"/>
              <a:t> </a:t>
            </a:r>
            <a:r>
              <a:rPr lang="de-DE" baseline="0" dirty="0" err="1"/>
              <a:t>are</a:t>
            </a:r>
            <a:r>
              <a:rPr lang="de-DE" baseline="0" dirty="0"/>
              <a:t> </a:t>
            </a:r>
            <a:r>
              <a:rPr lang="de-DE" baseline="0" dirty="0" err="1"/>
              <a:t>both</a:t>
            </a:r>
            <a:r>
              <a:rPr lang="de-DE" baseline="0" dirty="0"/>
              <a:t> FIPS 140-2 </a:t>
            </a:r>
            <a:r>
              <a:rPr lang="de-DE" baseline="0" dirty="0" err="1"/>
              <a:t>validated</a:t>
            </a:r>
            <a:r>
              <a:rPr lang="de-DE" baseline="0" dirty="0"/>
              <a:t>. CryptoServer CSe-Series </a:t>
            </a:r>
            <a:r>
              <a:rPr lang="de-DE" baseline="0" dirty="0" err="1"/>
              <a:t>has</a:t>
            </a:r>
            <a:r>
              <a:rPr lang="de-DE" baseline="0" dirty="0"/>
              <a:t> in </a:t>
            </a:r>
            <a:r>
              <a:rPr lang="de-DE" baseline="0" dirty="0" err="1"/>
              <a:t>addition</a:t>
            </a:r>
            <a:r>
              <a:rPr lang="de-DE" baseline="0" dirty="0"/>
              <a:t> </a:t>
            </a:r>
            <a:r>
              <a:rPr lang="de-DE" baseline="0" dirty="0" err="1"/>
              <a:t>received</a:t>
            </a:r>
            <a:r>
              <a:rPr lang="de-DE" baseline="0" dirty="0"/>
              <a:t> „DK“ </a:t>
            </a:r>
            <a:r>
              <a:rPr lang="de-DE" baseline="0" dirty="0" err="1"/>
              <a:t>approval</a:t>
            </a:r>
            <a:r>
              <a:rPr lang="de-DE" baseline="0" dirty="0"/>
              <a:t> (Deutsche Kreditwirtschaft, a </a:t>
            </a:r>
            <a:r>
              <a:rPr lang="de-DE" baseline="0" dirty="0" err="1"/>
              <a:t>pre</a:t>
            </a:r>
            <a:r>
              <a:rPr lang="de-DE" baseline="0" dirty="0"/>
              <a:t>-requisite </a:t>
            </a:r>
            <a:r>
              <a:rPr lang="de-DE" baseline="0" dirty="0" err="1"/>
              <a:t>for</a:t>
            </a:r>
            <a:r>
              <a:rPr lang="de-DE" baseline="0" dirty="0"/>
              <a:t> </a:t>
            </a:r>
            <a:r>
              <a:rPr lang="de-DE" baseline="0" dirty="0" err="1"/>
              <a:t>processing</a:t>
            </a:r>
            <a:r>
              <a:rPr lang="de-DE" baseline="0" dirty="0"/>
              <a:t> </a:t>
            </a:r>
            <a:r>
              <a:rPr lang="de-DE" baseline="0" dirty="0" err="1"/>
              <a:t>payment</a:t>
            </a:r>
            <a:r>
              <a:rPr lang="de-DE" baseline="0" dirty="0"/>
              <a:t> </a:t>
            </a:r>
            <a:r>
              <a:rPr lang="de-DE" baseline="0" dirty="0" err="1"/>
              <a:t>transactions</a:t>
            </a:r>
            <a:r>
              <a:rPr lang="de-DE" baseline="0" dirty="0"/>
              <a:t> in </a:t>
            </a:r>
            <a:r>
              <a:rPr lang="de-DE" baseline="0" dirty="0" err="1"/>
              <a:t>the</a:t>
            </a:r>
            <a:r>
              <a:rPr lang="de-DE" baseline="0" dirty="0"/>
              <a:t> German </a:t>
            </a:r>
            <a:r>
              <a:rPr lang="de-DE" baseline="0" dirty="0" err="1"/>
              <a:t>payment</a:t>
            </a:r>
            <a:r>
              <a:rPr lang="de-DE" baseline="0" dirty="0"/>
              <a:t> </a:t>
            </a:r>
            <a:r>
              <a:rPr lang="de-DE" baseline="0" dirty="0" err="1"/>
              <a:t>networks</a:t>
            </a:r>
            <a:r>
              <a:rPr lang="de-DE" baseline="0" dirty="0"/>
              <a:t>) </a:t>
            </a:r>
            <a:r>
              <a:rPr lang="de-DE" baseline="0" dirty="0" err="1"/>
              <a:t>and</a:t>
            </a:r>
            <a:r>
              <a:rPr lang="de-DE" baseline="0" dirty="0"/>
              <a:t> PCI HSM </a:t>
            </a:r>
            <a:r>
              <a:rPr lang="de-DE" baseline="0" dirty="0" err="1"/>
              <a:t>certification</a:t>
            </a:r>
            <a:r>
              <a:rPr lang="de-DE" baseline="0" dirty="0"/>
              <a:t>. CryptoServer Se-Series </a:t>
            </a:r>
            <a:r>
              <a:rPr lang="de-DE" baseline="0" dirty="0" err="1"/>
              <a:t>is</a:t>
            </a:r>
            <a:r>
              <a:rPr lang="de-DE" baseline="0" dirty="0"/>
              <a:t> Common </a:t>
            </a:r>
            <a:r>
              <a:rPr lang="de-DE" baseline="0" dirty="0" err="1"/>
              <a:t>Criteria</a:t>
            </a:r>
            <a:r>
              <a:rPr lang="de-DE" baseline="0" dirty="0"/>
              <a:t> EAL4+ </a:t>
            </a:r>
            <a:r>
              <a:rPr lang="de-DE" baseline="0" dirty="0" err="1"/>
              <a:t>evaluated</a:t>
            </a:r>
            <a:r>
              <a:rPr lang="de-DE" baseline="0" dirty="0"/>
              <a:t> and PCI HSM </a:t>
            </a:r>
            <a:r>
              <a:rPr lang="de-DE" baseline="0" dirty="0" err="1"/>
              <a:t>certified</a:t>
            </a:r>
            <a:r>
              <a:rPr lang="de-DE" baseline="0" dirty="0"/>
              <a:t>; </a:t>
            </a:r>
            <a:r>
              <a:rPr lang="de-DE" baseline="0" dirty="0" err="1"/>
              <a:t>details</a:t>
            </a:r>
            <a:r>
              <a:rPr lang="de-DE" baseline="0" dirty="0"/>
              <a:t> will follow in a </a:t>
            </a:r>
            <a:r>
              <a:rPr lang="de-DE" baseline="0" dirty="0" err="1"/>
              <a:t>few</a:t>
            </a:r>
            <a:r>
              <a:rPr lang="de-DE" baseline="0" dirty="0"/>
              <a:t> </a:t>
            </a:r>
            <a:r>
              <a:rPr lang="de-DE" baseline="0" dirty="0" err="1"/>
              <a:t>minutes</a:t>
            </a:r>
            <a:r>
              <a:rPr lang="de-DE" baseline="0" dirty="0"/>
              <a:t>.</a:t>
            </a: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742D625-1E0C-49AD-AA98-CDF32058D493}"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58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offer several product packages with our HSMs:</a:t>
            </a:r>
          </a:p>
          <a:p>
            <a:pPr marL="171450" indent="-171450">
              <a:buFont typeface="Arial" panose="020B0604020202020204" pitchFamily="34" charset="0"/>
              <a:buChar char="•"/>
            </a:pPr>
            <a:r>
              <a:rPr lang="en-US" baseline="0" dirty="0"/>
              <a:t>SecurityServer provides standard cryptographic APIs like PKCS#11, JCE, Microsoft CSP/CNG, Microsoft SQL Server Extensible Key Management, and a proprietary called CXI. The rich feature set and algorithm support of our SecurityServer package makes our CryptoServer HSMs the best suited general purpose HSMs for integrations with PKI applications, database server, authentication server, etc.</a:t>
            </a:r>
          </a:p>
          <a:p>
            <a:pPr marL="171450" indent="-171450">
              <a:buFont typeface="Arial" panose="020B0604020202020204" pitchFamily="34" charset="0"/>
              <a:buChar char="•"/>
            </a:pPr>
            <a:r>
              <a:rPr lang="en-US" baseline="0" dirty="0" err="1"/>
              <a:t>TimestampServer</a:t>
            </a:r>
            <a:r>
              <a:rPr lang="en-US" baseline="0" dirty="0"/>
              <a:t> is a dedicated product package for processing timestamp requests according RFC3161, and creating timestamp responses using signing keys stored inside the HSM.</a:t>
            </a:r>
          </a:p>
          <a:p>
            <a:pPr marL="171450" indent="-171450">
              <a:buFont typeface="Arial" panose="020B0604020202020204" pitchFamily="34" charset="0"/>
              <a:buChar char="•"/>
            </a:pPr>
            <a:r>
              <a:rPr lang="de-DE" baseline="0" dirty="0" err="1"/>
              <a:t>PaymentServer</a:t>
            </a:r>
            <a:r>
              <a:rPr lang="de-DE" baseline="0" dirty="0"/>
              <a:t> </a:t>
            </a:r>
            <a:r>
              <a:rPr lang="de-DE" baseline="0" dirty="0" err="1"/>
              <a:t>is</a:t>
            </a:r>
            <a:r>
              <a:rPr lang="de-DE" baseline="0" dirty="0"/>
              <a:t> </a:t>
            </a:r>
            <a:r>
              <a:rPr lang="de-DE" baseline="0" dirty="0" err="1"/>
              <a:t>Utimaco‘s</a:t>
            </a:r>
            <a:r>
              <a:rPr lang="de-DE" baseline="0" dirty="0"/>
              <a:t> </a:t>
            </a:r>
            <a:r>
              <a:rPr lang="de-DE" baseline="0" dirty="0" err="1"/>
              <a:t>most</a:t>
            </a:r>
            <a:r>
              <a:rPr lang="de-DE" baseline="0" dirty="0"/>
              <a:t> </a:t>
            </a:r>
            <a:r>
              <a:rPr lang="de-DE" baseline="0" dirty="0" err="1"/>
              <a:t>recent</a:t>
            </a:r>
            <a:r>
              <a:rPr lang="de-DE" baseline="0" dirty="0"/>
              <a:t> </a:t>
            </a:r>
            <a:r>
              <a:rPr lang="de-DE" baseline="0" dirty="0" err="1"/>
              <a:t>product</a:t>
            </a:r>
            <a:r>
              <a:rPr lang="de-DE" baseline="0" dirty="0"/>
              <a:t> </a:t>
            </a:r>
            <a:r>
              <a:rPr lang="de-DE" baseline="0" dirty="0" err="1"/>
              <a:t>package</a:t>
            </a:r>
            <a:r>
              <a:rPr lang="de-DE" baseline="0" dirty="0"/>
              <a:t>, </a:t>
            </a:r>
            <a:r>
              <a:rPr lang="de-DE" baseline="0" dirty="0" err="1"/>
              <a:t>supporting</a:t>
            </a:r>
            <a:r>
              <a:rPr lang="de-DE" baseline="0" dirty="0"/>
              <a:t> </a:t>
            </a:r>
            <a:r>
              <a:rPr lang="de-DE" baseline="0" dirty="0" err="1"/>
              <a:t>financial</a:t>
            </a:r>
            <a:r>
              <a:rPr lang="de-DE" baseline="0" dirty="0"/>
              <a:t> </a:t>
            </a:r>
            <a:r>
              <a:rPr lang="de-DE" baseline="0" dirty="0" err="1"/>
              <a:t>transactions</a:t>
            </a:r>
            <a:r>
              <a:rPr lang="de-DE" baseline="0" dirty="0"/>
              <a:t>, electronic </a:t>
            </a:r>
            <a:r>
              <a:rPr lang="de-DE" baseline="0" dirty="0" err="1"/>
              <a:t>fonds</a:t>
            </a:r>
            <a:r>
              <a:rPr lang="de-DE" baseline="0" dirty="0"/>
              <a:t> </a:t>
            </a:r>
            <a:r>
              <a:rPr lang="de-DE" baseline="0" dirty="0" err="1"/>
              <a:t>transfer</a:t>
            </a:r>
            <a:r>
              <a:rPr lang="de-DE" baseline="0" dirty="0"/>
              <a:t> (EFT), </a:t>
            </a:r>
            <a:r>
              <a:rPr lang="de-DE" baseline="0" dirty="0" err="1"/>
              <a:t>personalization</a:t>
            </a:r>
            <a:r>
              <a:rPr lang="de-DE" baseline="0" dirty="0"/>
              <a:t> </a:t>
            </a:r>
            <a:r>
              <a:rPr lang="de-DE" baseline="0" dirty="0" err="1"/>
              <a:t>of</a:t>
            </a:r>
            <a:r>
              <a:rPr lang="de-DE" baseline="0" dirty="0"/>
              <a:t> </a:t>
            </a:r>
            <a:r>
              <a:rPr lang="de-DE" baseline="0" dirty="0" err="1"/>
              <a:t>payment</a:t>
            </a:r>
            <a:r>
              <a:rPr lang="de-DE" baseline="0" dirty="0"/>
              <a:t> </a:t>
            </a:r>
            <a:r>
              <a:rPr lang="de-DE" baseline="0" dirty="0" err="1"/>
              <a:t>cards</a:t>
            </a:r>
            <a:r>
              <a:rPr lang="de-DE" baseline="0" dirty="0"/>
              <a:t> and Point </a:t>
            </a:r>
            <a:r>
              <a:rPr lang="de-DE" baseline="0" dirty="0" err="1"/>
              <a:t>of</a:t>
            </a:r>
            <a:r>
              <a:rPr lang="de-DE" baseline="0" dirty="0"/>
              <a:t> Sales (POS) </a:t>
            </a:r>
            <a:r>
              <a:rPr lang="de-DE" baseline="0" dirty="0" err="1"/>
              <a:t>initialization</a:t>
            </a:r>
            <a:r>
              <a:rPr lang="de-DE" baseline="0" dirty="0"/>
              <a:t>. </a:t>
            </a:r>
            <a:r>
              <a:rPr lang="de-DE" baseline="0" dirty="0" err="1"/>
              <a:t>PaymentServer</a:t>
            </a:r>
            <a:r>
              <a:rPr lang="de-DE" baseline="0" dirty="0"/>
              <a:t> </a:t>
            </a:r>
            <a:r>
              <a:rPr lang="de-DE" baseline="0" dirty="0" err="1"/>
              <a:t>firmware</a:t>
            </a:r>
            <a:r>
              <a:rPr lang="de-DE" baseline="0" dirty="0"/>
              <a:t> </a:t>
            </a:r>
            <a:r>
              <a:rPr lang="de-DE" baseline="0" dirty="0" err="1"/>
              <a:t>has</a:t>
            </a:r>
            <a:r>
              <a:rPr lang="de-DE" baseline="0" dirty="0"/>
              <a:t> </a:t>
            </a:r>
            <a:r>
              <a:rPr lang="de-DE" baseline="0" dirty="0" err="1"/>
              <a:t>recently</a:t>
            </a:r>
            <a:r>
              <a:rPr lang="de-DE" baseline="0" dirty="0"/>
              <a:t> </a:t>
            </a:r>
            <a:r>
              <a:rPr lang="de-DE" baseline="0" dirty="0" err="1"/>
              <a:t>received</a:t>
            </a:r>
            <a:r>
              <a:rPr lang="de-DE" baseline="0" dirty="0"/>
              <a:t> PCI HSM </a:t>
            </a:r>
            <a:r>
              <a:rPr lang="de-DE" baseline="0" dirty="0" err="1"/>
              <a:t>approval</a:t>
            </a:r>
            <a:r>
              <a:rPr lang="de-DE" baseline="0" dirty="0"/>
              <a:t> </a:t>
            </a:r>
            <a:r>
              <a:rPr lang="de-DE" baseline="0" dirty="0" err="1"/>
              <a:t>by</a:t>
            </a:r>
            <a:r>
              <a:rPr lang="de-DE" baseline="0" dirty="0"/>
              <a:t> </a:t>
            </a:r>
            <a:r>
              <a:rPr lang="de-DE" baseline="0" dirty="0" err="1"/>
              <a:t>the</a:t>
            </a:r>
            <a:r>
              <a:rPr lang="de-DE" baseline="0" dirty="0"/>
              <a:t> Payment Card Industry (PCI) Council. </a:t>
            </a:r>
          </a:p>
          <a:p>
            <a:pPr marL="171450" indent="-171450">
              <a:buFont typeface="Arial" panose="020B0604020202020204" pitchFamily="34" charset="0"/>
              <a:buChar char="•"/>
            </a:pPr>
            <a:r>
              <a:rPr lang="en-US" baseline="0" dirty="0"/>
              <a:t>Customers with specific requirements that can not, or not easily, use these standard cryptographic APIs will enjoy the capabilities of our CryptoServer Software Development Kit (SDK). CryptoServer SDK enables you to develop firmware modules that run inside the secure boundary of our CryptoServer HSM, and that implement custom cryptographic algorithms, key derivation functions, or complete sequences of operations that would otherwise require multiple calls to the HSM and possibly let intermediate results leave the HSM.</a:t>
            </a:r>
          </a:p>
          <a:p>
            <a:pPr marL="171450" indent="-171450">
              <a:buFont typeface="Arial" panose="020B0604020202020204" pitchFamily="34" charset="0"/>
              <a:buChar char="•"/>
            </a:pPr>
            <a:r>
              <a:rPr lang="en-US" baseline="0" dirty="0"/>
              <a:t>Customers or integrators requesting some extensions of the HSM functionality should also consider </a:t>
            </a:r>
            <a:r>
              <a:rPr lang="en-US" baseline="0" dirty="0" err="1"/>
              <a:t>Utimaco’s</a:t>
            </a:r>
            <a:r>
              <a:rPr lang="en-US" baseline="0" dirty="0"/>
              <a:t> CryptoScript SDK. Basically, </a:t>
            </a:r>
            <a:r>
              <a:rPr lang="en-US" baseline="0" dirty="0" err="1"/>
              <a:t>CryptoScripts</a:t>
            </a:r>
            <a:r>
              <a:rPr lang="en-US" baseline="0" dirty="0"/>
              <a:t> are text files that are loaded into the HSM, then interpreted and executed inside the secure boundary of the HSM. Compared to the CryptoServer SDK, </a:t>
            </a:r>
            <a:r>
              <a:rPr lang="en-US" baseline="0" dirty="0" err="1"/>
              <a:t>CryptoScripts</a:t>
            </a:r>
            <a:r>
              <a:rPr lang="en-US" baseline="0" dirty="0"/>
              <a:t> are executed inside their own virtual machine, thus providing separation from the underlying CryptoServer firmware as well as separation between scripts of different tenants. Furthermore </a:t>
            </a:r>
            <a:r>
              <a:rPr lang="en-US" baseline="0" dirty="0" err="1"/>
              <a:t>CryptoScripts</a:t>
            </a:r>
            <a:r>
              <a:rPr lang="en-US" baseline="0" dirty="0"/>
              <a:t> do not “break” the FIPS mode when being executed inside the HSM (once CryptoScript has been FIPS valid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All </a:t>
            </a:r>
            <a:r>
              <a:rPr lang="de-DE" baseline="0" dirty="0" err="1"/>
              <a:t>these</a:t>
            </a:r>
            <a:r>
              <a:rPr lang="de-DE" baseline="0" dirty="0"/>
              <a:t> </a:t>
            </a:r>
            <a:r>
              <a:rPr lang="de-DE" baseline="0" dirty="0" err="1"/>
              <a:t>packages</a:t>
            </a:r>
            <a:r>
              <a:rPr lang="de-DE" baseline="0" dirty="0"/>
              <a:t> </a:t>
            </a:r>
            <a:r>
              <a:rPr lang="de-DE" baseline="0" dirty="0" err="1"/>
              <a:t>mentioned</a:t>
            </a:r>
            <a:r>
              <a:rPr lang="de-DE" baseline="0" dirty="0"/>
              <a:t> </a:t>
            </a:r>
            <a:r>
              <a:rPr lang="de-DE" baseline="0" dirty="0" err="1"/>
              <a:t>previously</a:t>
            </a:r>
            <a:r>
              <a:rPr lang="de-DE" baseline="0" dirty="0"/>
              <a:t> </a:t>
            </a:r>
            <a:r>
              <a:rPr lang="de-DE" baseline="0" dirty="0" err="1"/>
              <a:t>can</a:t>
            </a:r>
            <a:r>
              <a:rPr lang="de-DE" baseline="0" dirty="0"/>
              <a:t>  also </a:t>
            </a:r>
            <a:r>
              <a:rPr lang="de-DE" baseline="0" dirty="0" err="1"/>
              <a:t>be</a:t>
            </a:r>
            <a:r>
              <a:rPr lang="de-DE" baseline="0" dirty="0"/>
              <a:t> </a:t>
            </a:r>
            <a:r>
              <a:rPr lang="de-DE" baseline="0" dirty="0" err="1"/>
              <a:t>deployed</a:t>
            </a:r>
            <a:r>
              <a:rPr lang="de-DE" baseline="0" dirty="0"/>
              <a:t> in </a:t>
            </a:r>
            <a:r>
              <a:rPr lang="de-DE" baseline="0" dirty="0" err="1"/>
              <a:t>the</a:t>
            </a:r>
            <a:r>
              <a:rPr lang="de-DE" baseline="0" dirty="0"/>
              <a:t> </a:t>
            </a:r>
            <a:r>
              <a:rPr lang="de-DE" baseline="0" dirty="0" err="1"/>
              <a:t>cloud</a:t>
            </a:r>
            <a:r>
              <a:rPr lang="de-DE" baseline="0" dirty="0"/>
              <a:t>, </a:t>
            </a:r>
            <a:r>
              <a:rPr lang="de-DE" baseline="0" dirty="0" err="1"/>
              <a:t>taking</a:t>
            </a:r>
            <a:r>
              <a:rPr lang="de-DE" baseline="0" dirty="0"/>
              <a:t> </a:t>
            </a:r>
            <a:r>
              <a:rPr lang="de-DE" baseline="0" dirty="0" err="1"/>
              <a:t>advantage</a:t>
            </a:r>
            <a:r>
              <a:rPr lang="de-DE" baseline="0" dirty="0"/>
              <a:t> </a:t>
            </a:r>
            <a:r>
              <a:rPr lang="de-DE" baseline="0" dirty="0" err="1"/>
              <a:t>of</a:t>
            </a:r>
            <a:r>
              <a:rPr lang="de-DE" baseline="0" dirty="0"/>
              <a:t> </a:t>
            </a:r>
            <a:r>
              <a:rPr lang="de-DE" baseline="0" dirty="0" err="1"/>
              <a:t>our</a:t>
            </a:r>
            <a:r>
              <a:rPr lang="de-DE" baseline="0" dirty="0"/>
              <a:t> </a:t>
            </a:r>
            <a:r>
              <a:rPr lang="de-DE" baseline="0" dirty="0" err="1"/>
              <a:t>new</a:t>
            </a:r>
            <a:r>
              <a:rPr lang="de-DE" baseline="0" dirty="0"/>
              <a:t> CryptoServer Cloud </a:t>
            </a:r>
            <a:r>
              <a:rPr lang="de-DE" baseline="0" dirty="0" err="1"/>
              <a:t>offering</a:t>
            </a:r>
            <a:r>
              <a:rPr lang="de-DE" baseline="0" dirty="0"/>
              <a:t>.</a:t>
            </a: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742D625-1E0C-49AD-AA98-CDF32058D493}"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8664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742D625-1E0C-49AD-AA98-CDF32058D493}" type="slidenum">
              <a:rPr lang="de-DE" smtClean="0"/>
              <a:t>9</a:t>
            </a:fld>
            <a:endParaRPr lang="de-DE"/>
          </a:p>
        </p:txBody>
      </p:sp>
    </p:spTree>
    <p:extLst>
      <p:ext uri="{BB962C8B-B14F-4D97-AF65-F5344CB8AC3E}">
        <p14:creationId xmlns:p14="http://schemas.microsoft.com/office/powerpoint/2010/main" val="1954826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Hardened device</a:t>
            </a:r>
            <a:r>
              <a:rPr lang="en-US" baseline="0" dirty="0"/>
              <a:t> with </a:t>
            </a:r>
            <a:r>
              <a:rPr lang="en-US" baseline="0" dirty="0" err="1"/>
              <a:t>Medeco</a:t>
            </a:r>
            <a:r>
              <a:rPr lang="en-US" baseline="0" dirty="0"/>
              <a:t> locks to prevent unauthorized access to key vaults.  1U rack form factor.</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0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896182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mailto:hsm@utimaco.com" TargetMode="External"/><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ti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mailto:hsm@utimaco.com" TargetMode="External"/><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mailto:hsm@utimaco.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ti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95962" y="2323470"/>
            <a:ext cx="10057838" cy="1167875"/>
          </a:xfrm>
        </p:spPr>
        <p:txBody>
          <a:bodyPr anchor="b">
            <a:noAutofit/>
          </a:bodyPr>
          <a:lstStyle>
            <a:lvl1pPr algn="l">
              <a:defRPr sz="3600">
                <a:solidFill>
                  <a:srgbClr val="0068B4"/>
                </a:solidFill>
              </a:defRPr>
            </a:lvl1pPr>
          </a:lstStyle>
          <a:p>
            <a:r>
              <a:rPr lang="en-US" dirty="0"/>
              <a:t>Type your </a:t>
            </a:r>
            <a:br>
              <a:rPr lang="en-US" dirty="0"/>
            </a:br>
            <a:r>
              <a:rPr lang="en-US" dirty="0"/>
              <a:t>Presentation Title</a:t>
            </a:r>
          </a:p>
        </p:txBody>
      </p:sp>
      <p:sp>
        <p:nvSpPr>
          <p:cNvPr id="4" name="Date Placeholder 3"/>
          <p:cNvSpPr>
            <a:spLocks noGrp="1"/>
          </p:cNvSpPr>
          <p:nvPr>
            <p:ph type="dt" sz="half" idx="10"/>
          </p:nvPr>
        </p:nvSpPr>
        <p:spPr>
          <a:xfrm>
            <a:off x="838199" y="6404476"/>
            <a:ext cx="3129643" cy="365125"/>
          </a:xfrm>
          <a:prstGeom prst="rect">
            <a:avLst/>
          </a:prstGeom>
        </p:spPr>
        <p:txBody>
          <a:bodyPr/>
          <a:lstStyle/>
          <a:p>
            <a:fld id="{2D0681FE-D3F3-4F0E-9259-DC01D992F8A0}" type="datetimeFigureOut">
              <a:rPr lang="en-US" smtClean="0"/>
              <a:t>5/16/2019</a:t>
            </a:fld>
            <a:endParaRPr lang="en-US"/>
          </a:p>
        </p:txBody>
      </p:sp>
      <p:sp>
        <p:nvSpPr>
          <p:cNvPr id="5" name="Footer Placeholder 4"/>
          <p:cNvSpPr>
            <a:spLocks noGrp="1"/>
          </p:cNvSpPr>
          <p:nvPr>
            <p:ph type="ftr" sz="quarter" idx="11"/>
          </p:nvPr>
        </p:nvSpPr>
        <p:spPr>
          <a:xfrm>
            <a:off x="4038600" y="6404476"/>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lstStyle/>
          <a:p>
            <a:fld id="{F176C07A-6A11-4181-8F1B-F89101FEA2C9}" type="slidenum">
              <a:rPr lang="en-US" smtClean="0"/>
              <a:t>‹#›</a:t>
            </a:fld>
            <a:endParaRPr lang="en-US"/>
          </a:p>
        </p:txBody>
      </p:sp>
      <p:sp>
        <p:nvSpPr>
          <p:cNvPr id="10" name="Rectangle 9"/>
          <p:cNvSpPr/>
          <p:nvPr userDrawn="1"/>
        </p:nvSpPr>
        <p:spPr>
          <a:xfrm>
            <a:off x="0" y="6217986"/>
            <a:ext cx="12191998" cy="6451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1295962" y="3591097"/>
            <a:ext cx="10057838" cy="2218217"/>
          </a:xfrm>
        </p:spPr>
        <p:txBody>
          <a:bodyPr/>
          <a:lstStyle>
            <a:lvl1pPr marL="0" indent="0" algn="l">
              <a:lnSpc>
                <a:spcPct val="100000"/>
              </a:lnSpc>
              <a:spcBef>
                <a:spcPts val="0"/>
              </a:spcBef>
              <a:buNone/>
              <a:defRPr sz="1800">
                <a:solidFill>
                  <a:srgbClr val="8F959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Place, Date, Author</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3396" y="5569523"/>
            <a:ext cx="2571127" cy="576926"/>
          </a:xfrm>
          <a:prstGeom prst="rect">
            <a:avLst/>
          </a:prstGeom>
        </p:spPr>
      </p:pic>
      <p:sp>
        <p:nvSpPr>
          <p:cNvPr id="14" name="Rectangle 13"/>
          <p:cNvSpPr/>
          <p:nvPr userDrawn="1"/>
        </p:nvSpPr>
        <p:spPr>
          <a:xfrm>
            <a:off x="1393728" y="1764001"/>
            <a:ext cx="10798271"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1764002"/>
            <a:ext cx="838195"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935962" y="1764001"/>
            <a:ext cx="360000" cy="360000"/>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46" y="-1"/>
            <a:ext cx="12211200" cy="1765977"/>
          </a:xfrm>
          <a:prstGeom prst="rect">
            <a:avLst/>
          </a:prstGeom>
        </p:spPr>
      </p:pic>
    </p:spTree>
    <p:extLst>
      <p:ext uri="{BB962C8B-B14F-4D97-AF65-F5344CB8AC3E}">
        <p14:creationId xmlns:p14="http://schemas.microsoft.com/office/powerpoint/2010/main" val="278831556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sp>
        <p:nvSpPr>
          <p:cNvPr id="3" name="Content Placeholder 2"/>
          <p:cNvSpPr>
            <a:spLocks noGrp="1"/>
          </p:cNvSpPr>
          <p:nvPr>
            <p:ph idx="13"/>
          </p:nvPr>
        </p:nvSpPr>
        <p:spPr>
          <a:xfrm>
            <a:off x="838200" y="1337186"/>
            <a:ext cx="10515600" cy="4847483"/>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5"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291242635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32680"/>
            <a:ext cx="5181600" cy="4844284"/>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332680"/>
            <a:ext cx="5181600" cy="4844284"/>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18"/>
          <p:cNvSpPr>
            <a:spLocks noGrp="1"/>
          </p:cNvSpPr>
          <p:nvPr>
            <p:ph sz="quarter" idx="13"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1"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7985982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Content_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3146323"/>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3146323"/>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2"/>
          <p:cNvSpPr>
            <a:spLocks noGrp="1"/>
          </p:cNvSpPr>
          <p:nvPr>
            <p:ph idx="13"/>
          </p:nvPr>
        </p:nvSpPr>
        <p:spPr>
          <a:xfrm>
            <a:off x="838200" y="1337186"/>
            <a:ext cx="10515600" cy="1720647"/>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171649473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Contents-One-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9" y="1337186"/>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199" y="1337186"/>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2"/>
          <p:cNvSpPr>
            <a:spLocks noGrp="1"/>
          </p:cNvSpPr>
          <p:nvPr>
            <p:ph idx="13"/>
          </p:nvPr>
        </p:nvSpPr>
        <p:spPr>
          <a:xfrm>
            <a:off x="838199" y="4454012"/>
            <a:ext cx="10515600" cy="1720647"/>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265359983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5" name="Footer Placeholder 4"/>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7" name="Rectangle 6"/>
          <p:cNvSpPr/>
          <p:nvPr userDrawn="1"/>
        </p:nvSpPr>
        <p:spPr>
          <a:xfrm>
            <a:off x="1393728" y="1764001"/>
            <a:ext cx="10798271"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p:cNvSpPr/>
          <p:nvPr userDrawn="1"/>
        </p:nvSpPr>
        <p:spPr>
          <a:xfrm>
            <a:off x="1" y="1764002"/>
            <a:ext cx="838195"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p:cNvSpPr/>
          <p:nvPr userDrawn="1"/>
        </p:nvSpPr>
        <p:spPr>
          <a:xfrm>
            <a:off x="0" y="6217986"/>
            <a:ext cx="12191998" cy="6451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p:cNvSpPr/>
          <p:nvPr userDrawn="1"/>
        </p:nvSpPr>
        <p:spPr>
          <a:xfrm>
            <a:off x="935962" y="1764001"/>
            <a:ext cx="360000" cy="360000"/>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Subtitle 2"/>
          <p:cNvSpPr>
            <a:spLocks noGrp="1"/>
          </p:cNvSpPr>
          <p:nvPr>
            <p:ph type="subTitle" idx="1" hasCustomPrompt="1"/>
          </p:nvPr>
        </p:nvSpPr>
        <p:spPr>
          <a:xfrm>
            <a:off x="1295961" y="3081095"/>
            <a:ext cx="10057839" cy="235996"/>
          </a:xfrm>
        </p:spPr>
        <p:txBody>
          <a:bodyPr anchor="ctr">
            <a:noAutofit/>
          </a:bodyPr>
          <a:lstStyle>
            <a:lvl1pPr marL="0" indent="0" algn="l">
              <a:spcBef>
                <a:spcPts val="0"/>
              </a:spcBef>
              <a:buNone/>
              <a:defRPr sz="1400" baseline="0">
                <a:solidFill>
                  <a:srgbClr val="8F959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titl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07268" y="2361877"/>
            <a:ext cx="2571127" cy="576926"/>
          </a:xfrm>
          <a:prstGeom prst="rect">
            <a:avLst/>
          </a:prstGeom>
        </p:spPr>
      </p:pic>
      <p:sp>
        <p:nvSpPr>
          <p:cNvPr id="14" name="Rectangle 13"/>
          <p:cNvSpPr/>
          <p:nvPr userDrawn="1"/>
        </p:nvSpPr>
        <p:spPr>
          <a:xfrm>
            <a:off x="0" y="-1"/>
            <a:ext cx="12191998" cy="747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p:cNvSpPr>
            <a:spLocks noGrp="1"/>
          </p:cNvSpPr>
          <p:nvPr>
            <p:ph type="ctrTitle" hasCustomPrompt="1"/>
          </p:nvPr>
        </p:nvSpPr>
        <p:spPr>
          <a:xfrm>
            <a:off x="1295960" y="517079"/>
            <a:ext cx="10057839" cy="1167875"/>
          </a:xfrm>
        </p:spPr>
        <p:txBody>
          <a:bodyPr anchor="b">
            <a:noAutofit/>
          </a:bodyPr>
          <a:lstStyle>
            <a:lvl1pPr algn="l">
              <a:defRPr sz="3600" baseline="0">
                <a:solidFill>
                  <a:srgbClr val="0068B4"/>
                </a:solidFill>
              </a:defRPr>
            </a:lvl1pPr>
          </a:lstStyle>
          <a:p>
            <a:r>
              <a:rPr lang="en-US" dirty="0"/>
              <a:t>Type your “Thank you” text</a:t>
            </a:r>
          </a:p>
        </p:txBody>
      </p:sp>
      <p:sp>
        <p:nvSpPr>
          <p:cNvPr id="12" name="TextBox 11"/>
          <p:cNvSpPr txBox="1"/>
          <p:nvPr userDrawn="1"/>
        </p:nvSpPr>
        <p:spPr>
          <a:xfrm>
            <a:off x="1295960" y="4149787"/>
            <a:ext cx="4127092" cy="1815882"/>
          </a:xfrm>
          <a:prstGeom prst="rect">
            <a:avLst/>
          </a:prstGeom>
          <a:noFill/>
        </p:spPr>
        <p:txBody>
          <a:bodyPr wrap="square" rtlCol="0">
            <a:noAutofit/>
          </a:bodyPr>
          <a:lstStyle/>
          <a:p>
            <a:r>
              <a:rPr lang="en-US" sz="1400" b="1" dirty="0">
                <a:latin typeface="Arial" panose="020B0604020202020204" pitchFamily="34" charset="0"/>
                <a:cs typeface="Arial" panose="020B0604020202020204" pitchFamily="34" charset="0"/>
              </a:rPr>
              <a:t>Utimaco IS GmbH</a:t>
            </a:r>
          </a:p>
          <a:p>
            <a:endParaRPr lang="en-US" sz="1400" dirty="0">
              <a:latin typeface="Arial" panose="020B0604020202020204" pitchFamily="34" charset="0"/>
              <a:cs typeface="Arial" panose="020B0604020202020204" pitchFamily="34" charset="0"/>
            </a:endParaRPr>
          </a:p>
          <a:p>
            <a:r>
              <a:rPr lang="en-US" sz="1400" dirty="0" err="1">
                <a:latin typeface="Arial" panose="020B0604020202020204" pitchFamily="34" charset="0"/>
                <a:cs typeface="Arial" panose="020B0604020202020204" pitchFamily="34" charset="0"/>
              </a:rPr>
              <a:t>Germanusstraße</a:t>
            </a:r>
            <a:r>
              <a:rPr lang="en-US" sz="1400" dirty="0">
                <a:latin typeface="Arial" panose="020B0604020202020204" pitchFamily="34" charset="0"/>
                <a:cs typeface="Arial" panose="020B0604020202020204" pitchFamily="34" charset="0"/>
              </a:rPr>
              <a:t> 4</a:t>
            </a:r>
          </a:p>
          <a:p>
            <a:r>
              <a:rPr lang="en-US" sz="1400" dirty="0">
                <a:latin typeface="Arial" panose="020B0604020202020204" pitchFamily="34" charset="0"/>
                <a:cs typeface="Arial" panose="020B0604020202020204" pitchFamily="34" charset="0"/>
              </a:rPr>
              <a:t>52080 Aachen</a:t>
            </a:r>
          </a:p>
          <a:p>
            <a:r>
              <a:rPr lang="en-US" sz="1400" dirty="0">
                <a:latin typeface="Arial" panose="020B0604020202020204" pitchFamily="34" charset="0"/>
                <a:cs typeface="Arial" panose="020B0604020202020204" pitchFamily="34" charset="0"/>
              </a:rPr>
              <a:t>Germany</a:t>
            </a:r>
          </a:p>
          <a:p>
            <a:r>
              <a:rPr lang="en-US" sz="1400" dirty="0">
                <a:latin typeface="Arial" panose="020B0604020202020204" pitchFamily="34" charset="0"/>
                <a:cs typeface="Arial" panose="020B0604020202020204" pitchFamily="34" charset="0"/>
              </a:rPr>
              <a:t>Tel +49 241 1696 200</a:t>
            </a:r>
          </a:p>
          <a:p>
            <a:r>
              <a:rPr lang="en-US" sz="1400" dirty="0">
                <a:latin typeface="Arial" panose="020B0604020202020204" pitchFamily="34" charset="0"/>
                <a:cs typeface="Arial" panose="020B0604020202020204" pitchFamily="34" charset="0"/>
              </a:rPr>
              <a:t>Fax +49 241 1696 199</a:t>
            </a:r>
          </a:p>
          <a:p>
            <a:r>
              <a:rPr lang="en-US" sz="1400" dirty="0">
                <a:latin typeface="Arial" panose="020B0604020202020204" pitchFamily="34" charset="0"/>
                <a:cs typeface="Arial" panose="020B0604020202020204" pitchFamily="34" charset="0"/>
              </a:rPr>
              <a:t>Email </a:t>
            </a:r>
            <a:r>
              <a:rPr lang="en-US" sz="1400" u="none" dirty="0">
                <a:solidFill>
                  <a:srgbClr val="0068B4"/>
                </a:solidFill>
                <a:latin typeface="Arial" panose="020B0604020202020204" pitchFamily="34" charset="0"/>
                <a:cs typeface="Arial" panose="020B0604020202020204" pitchFamily="34" charset="0"/>
                <a:hlinkClick r:id="rId3"/>
              </a:rPr>
              <a:t>hsm@utimaco.com</a:t>
            </a:r>
            <a:r>
              <a:rPr lang="en-US" sz="1400" u="none" dirty="0">
                <a:solidFill>
                  <a:srgbClr val="0068B4"/>
                </a:solidFill>
                <a:latin typeface="Arial" panose="020B0604020202020204" pitchFamily="34" charset="0"/>
                <a:cs typeface="Arial" panose="020B0604020202020204" pitchFamily="34" charset="0"/>
              </a:rPr>
              <a:t> </a:t>
            </a:r>
          </a:p>
        </p:txBody>
      </p:sp>
      <p:sp>
        <p:nvSpPr>
          <p:cNvPr id="16" name="TextBox 15"/>
          <p:cNvSpPr txBox="1"/>
          <p:nvPr userDrawn="1"/>
        </p:nvSpPr>
        <p:spPr>
          <a:xfrm>
            <a:off x="7226707" y="4149787"/>
            <a:ext cx="4127092" cy="1815882"/>
          </a:xfrm>
          <a:prstGeom prst="rect">
            <a:avLst/>
          </a:prstGeom>
          <a:noFill/>
        </p:spPr>
        <p:txBody>
          <a:bodyPr wrap="square" rtlCol="0">
            <a:noAutofit/>
          </a:bodyPr>
          <a:lstStyle/>
          <a:p>
            <a:r>
              <a:rPr lang="en-US" sz="1400" b="1" dirty="0">
                <a:latin typeface="Arial" panose="020B0604020202020204" pitchFamily="34" charset="0"/>
                <a:cs typeface="Arial" panose="020B0604020202020204" pitchFamily="34" charset="0"/>
              </a:rPr>
              <a:t>Utimaco Inc.</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Suite 150</a:t>
            </a:r>
          </a:p>
          <a:p>
            <a:r>
              <a:rPr lang="en-US" sz="1400" dirty="0">
                <a:latin typeface="Arial" panose="020B0604020202020204" pitchFamily="34" charset="0"/>
                <a:cs typeface="Arial" panose="020B0604020202020204" pitchFamily="34" charset="0"/>
              </a:rPr>
              <a:t>910 E Hamilton Ave</a:t>
            </a:r>
          </a:p>
          <a:p>
            <a:r>
              <a:rPr lang="en-US" sz="1400" dirty="0">
                <a:latin typeface="Arial" panose="020B0604020202020204" pitchFamily="34" charset="0"/>
                <a:cs typeface="Arial" panose="020B0604020202020204" pitchFamily="34" charset="0"/>
              </a:rPr>
              <a:t>Campbell,</a:t>
            </a:r>
            <a:r>
              <a:rPr lang="en-US" sz="1400" baseline="0" dirty="0">
                <a:latin typeface="Arial" panose="020B0604020202020204" pitchFamily="34" charset="0"/>
                <a:cs typeface="Arial" panose="020B0604020202020204" pitchFamily="34" charset="0"/>
              </a:rPr>
              <a:t> CA 95008</a:t>
            </a:r>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United States of America</a:t>
            </a:r>
          </a:p>
          <a:p>
            <a:r>
              <a:rPr lang="en-US" sz="1400" dirty="0">
                <a:latin typeface="Arial" panose="020B0604020202020204" pitchFamily="34" charset="0"/>
                <a:cs typeface="Arial" panose="020B0604020202020204" pitchFamily="34" charset="0"/>
              </a:rPr>
              <a:t>Tel +1 844 884 6226</a:t>
            </a:r>
          </a:p>
          <a:p>
            <a:r>
              <a:rPr lang="en-US" sz="1400" dirty="0">
                <a:latin typeface="Arial" panose="020B0604020202020204" pitchFamily="34" charset="0"/>
                <a:cs typeface="Arial" panose="020B0604020202020204" pitchFamily="34" charset="0"/>
              </a:rPr>
              <a:t>Email </a:t>
            </a:r>
            <a:r>
              <a:rPr lang="en-US" sz="1400" dirty="0">
                <a:solidFill>
                  <a:srgbClr val="0068B4"/>
                </a:solidFill>
                <a:latin typeface="Arial" panose="020B0604020202020204" pitchFamily="34" charset="0"/>
                <a:cs typeface="Arial" panose="020B0604020202020204" pitchFamily="34" charset="0"/>
                <a:hlinkClick r:id="rId3"/>
              </a:rPr>
              <a:t>hsm@utimaco.com</a:t>
            </a:r>
            <a:r>
              <a:rPr lang="en-US" sz="1400" dirty="0">
                <a:solidFill>
                  <a:srgbClr val="0068B4"/>
                </a:solidFill>
                <a:latin typeface="Arial" panose="020B0604020202020204" pitchFamily="34" charset="0"/>
                <a:cs typeface="Arial" panose="020B0604020202020204" pitchFamily="34" charset="0"/>
              </a:rPr>
              <a:t> </a:t>
            </a:r>
          </a:p>
        </p:txBody>
      </p:sp>
      <p:sp>
        <p:nvSpPr>
          <p:cNvPr id="19" name="Rectangle 18"/>
          <p:cNvSpPr/>
          <p:nvPr userDrawn="1"/>
        </p:nvSpPr>
        <p:spPr>
          <a:xfrm rot="5400000">
            <a:off x="341951" y="5034868"/>
            <a:ext cx="1704980"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0" name="Rectangle 19"/>
          <p:cNvSpPr/>
          <p:nvPr userDrawn="1"/>
        </p:nvSpPr>
        <p:spPr>
          <a:xfrm rot="5400000">
            <a:off x="6272700" y="5040430"/>
            <a:ext cx="1704980"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1" name="Content Placeholder 18"/>
          <p:cNvSpPr>
            <a:spLocks noGrp="1"/>
          </p:cNvSpPr>
          <p:nvPr>
            <p:ph sz="quarter" idx="13" hasCustomPrompt="1"/>
          </p:nvPr>
        </p:nvSpPr>
        <p:spPr>
          <a:xfrm>
            <a:off x="1295962" y="2642048"/>
            <a:ext cx="10057838" cy="427294"/>
          </a:xfrm>
        </p:spPr>
        <p:txBody>
          <a:bodyPr>
            <a:noAutofit/>
          </a:bodyPr>
          <a:lstStyle>
            <a:lvl1pPr marL="0" indent="0">
              <a:buNone/>
              <a:defRPr sz="2000" baseline="0">
                <a:solidFill>
                  <a:schemeClr val="tx1"/>
                </a:solidFill>
              </a:defRPr>
            </a:lvl1pPr>
          </a:lstStyle>
          <a:p>
            <a:pPr lvl="0"/>
            <a:r>
              <a:rPr lang="en-US" dirty="0"/>
              <a:t>Presenter Name</a:t>
            </a:r>
          </a:p>
        </p:txBody>
      </p:sp>
      <p:sp>
        <p:nvSpPr>
          <p:cNvPr id="22" name="Content Placeholder 18"/>
          <p:cNvSpPr>
            <a:spLocks noGrp="1"/>
          </p:cNvSpPr>
          <p:nvPr>
            <p:ph sz="quarter" idx="14" hasCustomPrompt="1"/>
          </p:nvPr>
        </p:nvSpPr>
        <p:spPr>
          <a:xfrm>
            <a:off x="1295961" y="3328844"/>
            <a:ext cx="10057838" cy="258545"/>
          </a:xfrm>
        </p:spPr>
        <p:txBody>
          <a:bodyPr>
            <a:noAutofit/>
          </a:bodyPr>
          <a:lstStyle>
            <a:lvl1pPr marL="0" indent="0">
              <a:buNone/>
              <a:defRPr sz="1400" baseline="0">
                <a:solidFill>
                  <a:srgbClr val="0068B4"/>
                </a:solidFill>
              </a:defRPr>
            </a:lvl1pPr>
          </a:lstStyle>
          <a:p>
            <a:pPr lvl="0"/>
            <a:r>
              <a:rPr lang="en-US" dirty="0"/>
              <a:t>Presenter email address</a:t>
            </a:r>
          </a:p>
        </p:txBody>
      </p:sp>
    </p:spTree>
    <p:extLst>
      <p:ext uri="{BB962C8B-B14F-4D97-AF65-F5344CB8AC3E}">
        <p14:creationId xmlns:p14="http://schemas.microsoft.com/office/powerpoint/2010/main" val="272291887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line/one-line+Flowing-Text21pt">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1104000" y="1345746"/>
            <a:ext cx="9954525" cy="390000"/>
          </a:xfrm>
          <a:prstGeom prst="rect">
            <a:avLst/>
          </a:prstGeom>
        </p:spPr>
        <p:txBody>
          <a:bodyPr lIns="0" tIns="0" rIns="0" bIns="0"/>
          <a:lstStyle>
            <a:lvl1pPr marL="0" indent="0">
              <a:lnSpc>
                <a:spcPts val="2400"/>
              </a:lnSpc>
              <a:spcBef>
                <a:spcPts val="0"/>
              </a:spcBef>
              <a:spcAft>
                <a:spcPts val="1200"/>
              </a:spcAft>
              <a:buNone/>
              <a:defRPr sz="2100" baseline="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r>
              <a:rPr lang="en-US" noProof="0" dirty="0"/>
              <a:t>Flowing text 21pt</a:t>
            </a:r>
          </a:p>
        </p:txBody>
      </p:sp>
      <p:sp>
        <p:nvSpPr>
          <p:cNvPr id="5" name="Titel 1"/>
          <p:cNvSpPr>
            <a:spLocks noGrp="1"/>
          </p:cNvSpPr>
          <p:nvPr>
            <p:ph type="ctrTitle" hasCustomPrompt="1"/>
          </p:nvPr>
        </p:nvSpPr>
        <p:spPr>
          <a:xfrm>
            <a:off x="1104000" y="169691"/>
            <a:ext cx="9954525" cy="576000"/>
          </a:xfrm>
          <a:prstGeom prst="rect">
            <a:avLst/>
          </a:prstGeom>
        </p:spPr>
        <p:txBody>
          <a:bodyPr lIns="0" tIns="0" rIns="0" bIns="0"/>
          <a:lstStyle>
            <a:lvl1pPr algn="l">
              <a:lnSpc>
                <a:spcPts val="3100"/>
              </a:lnSpc>
              <a:defRPr sz="2800" b="0">
                <a:solidFill>
                  <a:schemeClr val="tx2"/>
                </a:solidFill>
                <a:latin typeface="Arial" panose="020B0604020202020204" pitchFamily="34" charset="0"/>
                <a:ea typeface="Roboto" panose="02000000000000000000" pitchFamily="2" charset="0"/>
                <a:cs typeface="Arial" panose="020B0604020202020204" pitchFamily="34" charset="0"/>
              </a:defRPr>
            </a:lvl1pPr>
          </a:lstStyle>
          <a:p>
            <a:r>
              <a:rPr lang="en-US" noProof="0" dirty="0"/>
              <a:t>Headline one-line</a:t>
            </a:r>
          </a:p>
        </p:txBody>
      </p:sp>
    </p:spTree>
    <p:extLst>
      <p:ext uri="{BB962C8B-B14F-4D97-AF65-F5344CB8AC3E}">
        <p14:creationId xmlns:p14="http://schemas.microsoft.com/office/powerpoint/2010/main" val="25824108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dline/one-line">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1104000" y="176618"/>
            <a:ext cx="9954525" cy="576000"/>
          </a:xfrm>
          <a:prstGeom prst="rect">
            <a:avLst/>
          </a:prstGeom>
        </p:spPr>
        <p:txBody>
          <a:bodyPr lIns="0" tIns="0" rIns="0" bIns="0"/>
          <a:lstStyle>
            <a:lvl1pPr algn="l">
              <a:lnSpc>
                <a:spcPts val="3100"/>
              </a:lnSpc>
              <a:defRPr sz="2800" b="0">
                <a:solidFill>
                  <a:schemeClr val="tx2"/>
                </a:solidFill>
                <a:latin typeface="Arial" panose="020B0604020202020204" pitchFamily="34" charset="0"/>
                <a:ea typeface="Roboto" panose="02000000000000000000" pitchFamily="2" charset="0"/>
                <a:cs typeface="Arial" panose="020B0604020202020204" pitchFamily="34" charset="0"/>
              </a:defRPr>
            </a:lvl1pPr>
          </a:lstStyle>
          <a:p>
            <a:r>
              <a:rPr lang="en-US" noProof="0" dirty="0"/>
              <a:t>Headline one-line</a:t>
            </a:r>
          </a:p>
        </p:txBody>
      </p:sp>
    </p:spTree>
    <p:extLst>
      <p:ext uri="{BB962C8B-B14F-4D97-AF65-F5344CB8AC3E}">
        <p14:creationId xmlns:p14="http://schemas.microsoft.com/office/powerpoint/2010/main" val="205254984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
        <p:nvSpPr>
          <p:cNvPr id="4" name="Date Placeholder 3"/>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dirty="0"/>
          </a:p>
        </p:txBody>
      </p:sp>
      <p:sp>
        <p:nvSpPr>
          <p:cNvPr id="5" name="Footer Placeholder 4"/>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9" name="Content Placeholder 18"/>
          <p:cNvSpPr>
            <a:spLocks noGrp="1"/>
          </p:cNvSpPr>
          <p:nvPr>
            <p:ph sz="quarter" idx="13"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9" name="Content Placeholder 2"/>
          <p:cNvSpPr>
            <a:spLocks noGrp="1"/>
          </p:cNvSpPr>
          <p:nvPr>
            <p:ph idx="15"/>
          </p:nvPr>
        </p:nvSpPr>
        <p:spPr>
          <a:xfrm>
            <a:off x="838199" y="1332679"/>
            <a:ext cx="10515600" cy="4847483"/>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461790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Headline/one-line+mirror-points">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1104000" y="169691"/>
            <a:ext cx="9951975" cy="576000"/>
          </a:xfrm>
          <a:prstGeom prst="rect">
            <a:avLst/>
          </a:prstGeom>
        </p:spPr>
        <p:txBody>
          <a:bodyPr lIns="0" tIns="0" rIns="0" bIns="0"/>
          <a:lstStyle>
            <a:lvl1pPr algn="l">
              <a:lnSpc>
                <a:spcPts val="3100"/>
              </a:lnSpc>
              <a:defRPr sz="2800" b="0">
                <a:solidFill>
                  <a:schemeClr val="tx2"/>
                </a:solidFill>
                <a:latin typeface="Arial" panose="020B0604020202020204" pitchFamily="34" charset="0"/>
                <a:ea typeface="Roboto" panose="02000000000000000000" pitchFamily="2" charset="0"/>
                <a:cs typeface="Arial" panose="020B0604020202020204" pitchFamily="34" charset="0"/>
              </a:defRPr>
            </a:lvl1pPr>
          </a:lstStyle>
          <a:p>
            <a:r>
              <a:rPr lang="en-US" noProof="0" dirty="0"/>
              <a:t>Headline one-line</a:t>
            </a:r>
          </a:p>
        </p:txBody>
      </p:sp>
      <p:sp>
        <p:nvSpPr>
          <p:cNvPr id="7" name="Inhaltsplatzhalter 2"/>
          <p:cNvSpPr>
            <a:spLocks noGrp="1"/>
          </p:cNvSpPr>
          <p:nvPr>
            <p:ph idx="10" hasCustomPrompt="1"/>
          </p:nvPr>
        </p:nvSpPr>
        <p:spPr>
          <a:xfrm>
            <a:off x="1104000" y="1347109"/>
            <a:ext cx="4791975" cy="4077848"/>
          </a:xfrm>
          <a:prstGeom prst="rect">
            <a:avLst/>
          </a:prstGeom>
        </p:spPr>
        <p:txBody>
          <a:bodyPr lIns="0" tIns="0" rIns="0" bIns="0"/>
          <a:lstStyle>
            <a:lvl1pPr marL="252000" indent="-252000">
              <a:lnSpc>
                <a:spcPct val="100000"/>
              </a:lnSpc>
              <a:spcBef>
                <a:spcPts val="0"/>
              </a:spcBef>
              <a:spcAft>
                <a:spcPts val="600"/>
              </a:spcAft>
              <a:buClr>
                <a:schemeClr val="tx2"/>
              </a:buClr>
              <a:buFont typeface="Wingdings" charset="2"/>
              <a:buChar char="§"/>
              <a:defRPr sz="2100">
                <a:latin typeface="Arial" panose="020B0604020202020204" pitchFamily="34" charset="0"/>
                <a:ea typeface="Roboto" panose="02000000000000000000" pitchFamily="2" charset="0"/>
                <a:cs typeface="Arial" panose="020B0604020202020204" pitchFamily="34" charset="0"/>
              </a:defRPr>
            </a:lvl1pPr>
            <a:lvl2pPr marL="446088" indent="-174625">
              <a:lnSpc>
                <a:spcPct val="100000"/>
              </a:lnSpc>
              <a:spcBef>
                <a:spcPts val="0"/>
              </a:spcBef>
              <a:spcAft>
                <a:spcPts val="600"/>
              </a:spcAft>
              <a:buClr>
                <a:schemeClr val="accent2"/>
              </a:buClr>
              <a:buFont typeface="Wingdings" charset="2"/>
              <a:buChar char="§"/>
              <a:defRPr sz="1800">
                <a:latin typeface="Arial" panose="020B0604020202020204" pitchFamily="34" charset="0"/>
                <a:ea typeface="Roboto" panose="02000000000000000000" pitchFamily="2" charset="0"/>
                <a:cs typeface="Arial" panose="020B0604020202020204" pitchFamily="34" charset="0"/>
              </a:defRPr>
            </a:lvl2pPr>
            <a:lvl3pPr marL="627063" marR="0" indent="-180975" algn="l" defTabSz="914400" rtl="0" eaLnBrk="0" fontAlgn="base" latinLnBrk="0" hangingPunct="0">
              <a:lnSpc>
                <a:spcPct val="100000"/>
              </a:lnSpc>
              <a:spcBef>
                <a:spcPts val="0"/>
              </a:spcBef>
              <a:spcAft>
                <a:spcPts val="600"/>
              </a:spcAft>
              <a:buClr>
                <a:schemeClr val="accent2"/>
              </a:buClr>
              <a:buSzPct val="100000"/>
              <a:buFont typeface="Wingdings" charset="2"/>
              <a:buChar char="§"/>
              <a:tabLst/>
              <a:defRPr sz="1600">
                <a:latin typeface="Arial" panose="020B0604020202020204" pitchFamily="34" charset="0"/>
                <a:ea typeface="Roboto" panose="02000000000000000000" pitchFamily="2" charset="0"/>
                <a:cs typeface="Arial" panose="020B0604020202020204" pitchFamily="34" charset="0"/>
              </a:defRPr>
            </a:lvl3pPr>
            <a:lvl4pPr marL="648000" indent="-180000">
              <a:lnSpc>
                <a:spcPct val="100000"/>
              </a:lnSpc>
              <a:spcBef>
                <a:spcPts val="0"/>
              </a:spcBef>
              <a:spcAft>
                <a:spcPts val="600"/>
              </a:spcAft>
              <a:buClr>
                <a:schemeClr val="accent2"/>
              </a:buClr>
              <a:buFont typeface="Wingdings" charset="2"/>
              <a:buChar char="§"/>
              <a:defRPr sz="1300"/>
            </a:lvl4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2"/>
            <a:endParaRPr lang="en-US" noProof="0" dirty="0"/>
          </a:p>
          <a:p>
            <a:pPr marL="627063" marR="0" lvl="2" indent="-271463" algn="l" defTabSz="914400" rtl="0" eaLnBrk="0" fontAlgn="base" latinLnBrk="0" hangingPunct="0">
              <a:lnSpc>
                <a:spcPct val="100000"/>
              </a:lnSpc>
              <a:spcBef>
                <a:spcPct val="20000"/>
              </a:spcBef>
              <a:spcAft>
                <a:spcPct val="30000"/>
              </a:spcAft>
              <a:buClr>
                <a:schemeClr val="accent1"/>
              </a:buClr>
              <a:buSzTx/>
              <a:buFont typeface="Wingdings 2" pitchFamily="-65" charset="2"/>
              <a:buChar char=""/>
              <a:tabLst/>
              <a:defRPr/>
            </a:pPr>
            <a:endParaRPr lang="en-US" noProof="0" dirty="0"/>
          </a:p>
          <a:p>
            <a:pPr lvl="2"/>
            <a:endParaRPr lang="en-US" noProof="0" dirty="0"/>
          </a:p>
          <a:p>
            <a:pPr lvl="0"/>
            <a:endParaRPr lang="en-US" noProof="0" dirty="0"/>
          </a:p>
        </p:txBody>
      </p:sp>
      <p:sp>
        <p:nvSpPr>
          <p:cNvPr id="8" name="Inhaltsplatzhalter 2"/>
          <p:cNvSpPr>
            <a:spLocks noGrp="1"/>
          </p:cNvSpPr>
          <p:nvPr>
            <p:ph idx="11" hasCustomPrompt="1"/>
          </p:nvPr>
        </p:nvSpPr>
        <p:spPr>
          <a:xfrm>
            <a:off x="6264000" y="1346430"/>
            <a:ext cx="4791975" cy="4077848"/>
          </a:xfrm>
          <a:prstGeom prst="rect">
            <a:avLst/>
          </a:prstGeom>
        </p:spPr>
        <p:txBody>
          <a:bodyPr lIns="0" tIns="0" rIns="0" bIns="0"/>
          <a:lstStyle>
            <a:lvl1pPr marL="252000" indent="-252000">
              <a:lnSpc>
                <a:spcPct val="100000"/>
              </a:lnSpc>
              <a:spcBef>
                <a:spcPts val="0"/>
              </a:spcBef>
              <a:spcAft>
                <a:spcPts val="600"/>
              </a:spcAft>
              <a:buClr>
                <a:schemeClr val="tx2"/>
              </a:buClr>
              <a:buFont typeface="Wingdings" charset="2"/>
              <a:buChar char="§"/>
              <a:defRPr sz="2100">
                <a:latin typeface="Arial" panose="020B0604020202020204" pitchFamily="34" charset="0"/>
                <a:ea typeface="Roboto" panose="02000000000000000000" pitchFamily="2" charset="0"/>
                <a:cs typeface="Arial" panose="020B0604020202020204" pitchFamily="34" charset="0"/>
              </a:defRPr>
            </a:lvl1pPr>
            <a:lvl2pPr marL="446088" indent="-174625">
              <a:lnSpc>
                <a:spcPct val="100000"/>
              </a:lnSpc>
              <a:spcBef>
                <a:spcPts val="0"/>
              </a:spcBef>
              <a:spcAft>
                <a:spcPts val="600"/>
              </a:spcAft>
              <a:buClr>
                <a:schemeClr val="accent2"/>
              </a:buClr>
              <a:buFont typeface="Wingdings" charset="2"/>
              <a:buChar char="§"/>
              <a:defRPr sz="1800">
                <a:latin typeface="Arial" panose="020B0604020202020204" pitchFamily="34" charset="0"/>
                <a:ea typeface="Roboto" panose="02000000000000000000" pitchFamily="2" charset="0"/>
                <a:cs typeface="Arial" panose="020B0604020202020204" pitchFamily="34" charset="0"/>
              </a:defRPr>
            </a:lvl2pPr>
            <a:lvl3pPr marL="627063" marR="0" indent="-180975" algn="l" defTabSz="914400" rtl="0" eaLnBrk="0" fontAlgn="base" latinLnBrk="0" hangingPunct="0">
              <a:lnSpc>
                <a:spcPct val="100000"/>
              </a:lnSpc>
              <a:spcBef>
                <a:spcPts val="0"/>
              </a:spcBef>
              <a:spcAft>
                <a:spcPts val="600"/>
              </a:spcAft>
              <a:buClr>
                <a:schemeClr val="accent2"/>
              </a:buClr>
              <a:buSzPct val="100000"/>
              <a:buFont typeface="Wingdings" charset="2"/>
              <a:buChar char="§"/>
              <a:tabLst/>
              <a:defRPr sz="1600">
                <a:latin typeface="Arial" panose="020B0604020202020204" pitchFamily="34" charset="0"/>
                <a:ea typeface="Roboto" panose="02000000000000000000" pitchFamily="2" charset="0"/>
                <a:cs typeface="Arial" panose="020B0604020202020204" pitchFamily="34" charset="0"/>
              </a:defRPr>
            </a:lvl3pPr>
            <a:lvl4pPr marL="648000" indent="-180000">
              <a:lnSpc>
                <a:spcPct val="100000"/>
              </a:lnSpc>
              <a:spcBef>
                <a:spcPts val="0"/>
              </a:spcBef>
              <a:spcAft>
                <a:spcPts val="600"/>
              </a:spcAft>
              <a:buClr>
                <a:schemeClr val="accent2"/>
              </a:buClr>
              <a:buFont typeface="Wingdings" charset="2"/>
              <a:buChar char="§"/>
              <a:defRPr sz="1300"/>
            </a:lvl4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marL="627063" marR="0" lvl="2" indent="-271463" algn="l" defTabSz="914400" rtl="0" eaLnBrk="0" fontAlgn="base" latinLnBrk="0" hangingPunct="0">
              <a:lnSpc>
                <a:spcPct val="100000"/>
              </a:lnSpc>
              <a:spcBef>
                <a:spcPct val="20000"/>
              </a:spcBef>
              <a:spcAft>
                <a:spcPct val="30000"/>
              </a:spcAft>
              <a:buClr>
                <a:schemeClr val="accent1"/>
              </a:buClr>
              <a:buSzTx/>
              <a:buFont typeface="Wingdings 2" pitchFamily="-65" charset="2"/>
              <a:buChar char=""/>
              <a:tabLst/>
              <a:defRPr/>
            </a:pPr>
            <a:endParaRPr lang="en-US" noProof="0" dirty="0"/>
          </a:p>
          <a:p>
            <a:pPr lvl="2"/>
            <a:endParaRPr lang="en-US" noProof="0" dirty="0"/>
          </a:p>
          <a:p>
            <a:pPr lvl="0"/>
            <a:endParaRPr lang="en-US" noProof="0" dirty="0"/>
          </a:p>
        </p:txBody>
      </p:sp>
    </p:spTree>
    <p:extLst>
      <p:ext uri="{BB962C8B-B14F-4D97-AF65-F5344CB8AC3E}">
        <p14:creationId xmlns:p14="http://schemas.microsoft.com/office/powerpoint/2010/main" val="35219284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95962" y="2323470"/>
            <a:ext cx="10057838" cy="1167875"/>
          </a:xfrm>
        </p:spPr>
        <p:txBody>
          <a:bodyPr anchor="b">
            <a:noAutofit/>
          </a:bodyPr>
          <a:lstStyle>
            <a:lvl1pPr algn="l">
              <a:defRPr sz="3600">
                <a:solidFill>
                  <a:srgbClr val="0068B4"/>
                </a:solidFill>
              </a:defRPr>
            </a:lvl1pPr>
          </a:lstStyle>
          <a:p>
            <a:r>
              <a:rPr lang="en-US" dirty="0"/>
              <a:t>Type your </a:t>
            </a:r>
            <a:br>
              <a:rPr lang="en-US" dirty="0"/>
            </a:br>
            <a:r>
              <a:rPr lang="en-US" dirty="0"/>
              <a:t>Presentation Title</a:t>
            </a:r>
          </a:p>
        </p:txBody>
      </p:sp>
      <p:sp>
        <p:nvSpPr>
          <p:cNvPr id="4" name="Date Placeholder 3"/>
          <p:cNvSpPr>
            <a:spLocks noGrp="1"/>
          </p:cNvSpPr>
          <p:nvPr>
            <p:ph type="dt" sz="half" idx="10"/>
          </p:nvPr>
        </p:nvSpPr>
        <p:spPr>
          <a:xfrm>
            <a:off x="838199" y="6404476"/>
            <a:ext cx="3129643" cy="365125"/>
          </a:xfrm>
          <a:prstGeom prst="rect">
            <a:avLst/>
          </a:prstGeom>
        </p:spPr>
        <p:txBody>
          <a:bodyPr/>
          <a:lstStyle/>
          <a:p>
            <a:fld id="{2D0681FE-D3F3-4F0E-9259-DC01D992F8A0}" type="datetimeFigureOut">
              <a:rPr lang="en-US" smtClean="0"/>
              <a:t>5/16/2019</a:t>
            </a:fld>
            <a:endParaRPr lang="en-US"/>
          </a:p>
        </p:txBody>
      </p:sp>
      <p:sp>
        <p:nvSpPr>
          <p:cNvPr id="5" name="Footer Placeholder 4"/>
          <p:cNvSpPr>
            <a:spLocks noGrp="1"/>
          </p:cNvSpPr>
          <p:nvPr>
            <p:ph type="ftr" sz="quarter" idx="11"/>
          </p:nvPr>
        </p:nvSpPr>
        <p:spPr>
          <a:xfrm>
            <a:off x="4038600" y="6404476"/>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lstStyle/>
          <a:p>
            <a:fld id="{F176C07A-6A11-4181-8F1B-F89101FEA2C9}" type="slidenum">
              <a:rPr lang="en-US" smtClean="0"/>
              <a:t>‹#›</a:t>
            </a:fld>
            <a:endParaRPr lang="en-US"/>
          </a:p>
        </p:txBody>
      </p:sp>
      <p:sp>
        <p:nvSpPr>
          <p:cNvPr id="10" name="Rectangle 9"/>
          <p:cNvSpPr/>
          <p:nvPr userDrawn="1"/>
        </p:nvSpPr>
        <p:spPr>
          <a:xfrm>
            <a:off x="0" y="6217986"/>
            <a:ext cx="12191998" cy="6451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1295962" y="3591097"/>
            <a:ext cx="10057838" cy="2218217"/>
          </a:xfrm>
        </p:spPr>
        <p:txBody>
          <a:bodyPr/>
          <a:lstStyle>
            <a:lvl1pPr marL="0" indent="0" algn="l">
              <a:lnSpc>
                <a:spcPct val="100000"/>
              </a:lnSpc>
              <a:spcBef>
                <a:spcPts val="0"/>
              </a:spcBef>
              <a:buNone/>
              <a:defRPr sz="1800">
                <a:solidFill>
                  <a:srgbClr val="8F959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Place, Date, Author</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3396" y="5569523"/>
            <a:ext cx="2571127" cy="576926"/>
          </a:xfrm>
          <a:prstGeom prst="rect">
            <a:avLst/>
          </a:prstGeom>
        </p:spPr>
      </p:pic>
      <p:sp>
        <p:nvSpPr>
          <p:cNvPr id="14" name="Rectangle 13"/>
          <p:cNvSpPr/>
          <p:nvPr userDrawn="1"/>
        </p:nvSpPr>
        <p:spPr>
          <a:xfrm>
            <a:off x="1393728" y="1764001"/>
            <a:ext cx="10798271"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1764002"/>
            <a:ext cx="838195"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935962" y="1764001"/>
            <a:ext cx="360000" cy="360000"/>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46" y="-1"/>
            <a:ext cx="12211200" cy="1765977"/>
          </a:xfrm>
          <a:prstGeom prst="rect">
            <a:avLst/>
          </a:prstGeom>
        </p:spPr>
      </p:pic>
    </p:spTree>
    <p:extLst>
      <p:ext uri="{BB962C8B-B14F-4D97-AF65-F5344CB8AC3E}">
        <p14:creationId xmlns:p14="http://schemas.microsoft.com/office/powerpoint/2010/main" val="194726113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sp>
        <p:nvSpPr>
          <p:cNvPr id="3" name="Content Placeholder 2"/>
          <p:cNvSpPr>
            <a:spLocks noGrp="1"/>
          </p:cNvSpPr>
          <p:nvPr>
            <p:ph idx="13"/>
          </p:nvPr>
        </p:nvSpPr>
        <p:spPr>
          <a:xfrm>
            <a:off x="838200" y="1337186"/>
            <a:ext cx="10515600" cy="4847483"/>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5"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190473514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ubtitle-Content">
    <p:spTree>
      <p:nvGrpSpPr>
        <p:cNvPr id="1" name=""/>
        <p:cNvGrpSpPr/>
        <p:nvPr/>
      </p:nvGrpSpPr>
      <p:grpSpPr>
        <a:xfrm>
          <a:off x="0" y="0"/>
          <a:ext cx="0" cy="0"/>
          <a:chOff x="0" y="0"/>
          <a:chExt cx="0" cy="0"/>
        </a:xfrm>
      </p:grpSpPr>
      <p:sp>
        <p:nvSpPr>
          <p:cNvPr id="3" name="Content Placeholder 2"/>
          <p:cNvSpPr>
            <a:spLocks noGrp="1"/>
          </p:cNvSpPr>
          <p:nvPr>
            <p:ph idx="13"/>
          </p:nvPr>
        </p:nvSpPr>
        <p:spPr>
          <a:xfrm>
            <a:off x="838200" y="1337186"/>
            <a:ext cx="10515600" cy="4847483"/>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5"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133704633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32680"/>
            <a:ext cx="5181600" cy="4844284"/>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332680"/>
            <a:ext cx="5181600" cy="4844284"/>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18"/>
          <p:cNvSpPr>
            <a:spLocks noGrp="1"/>
          </p:cNvSpPr>
          <p:nvPr>
            <p:ph sz="quarter" idx="13"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1"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414178895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Content_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3146323"/>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3146323"/>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2"/>
          <p:cNvSpPr>
            <a:spLocks noGrp="1"/>
          </p:cNvSpPr>
          <p:nvPr>
            <p:ph idx="13"/>
          </p:nvPr>
        </p:nvSpPr>
        <p:spPr>
          <a:xfrm>
            <a:off x="838200" y="1337186"/>
            <a:ext cx="10515600" cy="1720647"/>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37207823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Contents-One-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9" y="1337186"/>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199" y="1337186"/>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2"/>
          <p:cNvSpPr>
            <a:spLocks noGrp="1"/>
          </p:cNvSpPr>
          <p:nvPr>
            <p:ph idx="13"/>
          </p:nvPr>
        </p:nvSpPr>
        <p:spPr>
          <a:xfrm>
            <a:off x="838199" y="4454012"/>
            <a:ext cx="10515600" cy="1720647"/>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28088386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5" name="Footer Placeholder 4"/>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7" name="Rectangle 6"/>
          <p:cNvSpPr/>
          <p:nvPr userDrawn="1"/>
        </p:nvSpPr>
        <p:spPr>
          <a:xfrm>
            <a:off x="1393728" y="1764001"/>
            <a:ext cx="10798271"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p:cNvSpPr/>
          <p:nvPr userDrawn="1"/>
        </p:nvSpPr>
        <p:spPr>
          <a:xfrm>
            <a:off x="1" y="1764002"/>
            <a:ext cx="838195"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p:cNvSpPr/>
          <p:nvPr userDrawn="1"/>
        </p:nvSpPr>
        <p:spPr>
          <a:xfrm>
            <a:off x="0" y="6217986"/>
            <a:ext cx="12191998" cy="6451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p:cNvSpPr/>
          <p:nvPr userDrawn="1"/>
        </p:nvSpPr>
        <p:spPr>
          <a:xfrm>
            <a:off x="935962" y="1764001"/>
            <a:ext cx="360000" cy="360000"/>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Subtitle 2"/>
          <p:cNvSpPr>
            <a:spLocks noGrp="1"/>
          </p:cNvSpPr>
          <p:nvPr>
            <p:ph type="subTitle" idx="1" hasCustomPrompt="1"/>
          </p:nvPr>
        </p:nvSpPr>
        <p:spPr>
          <a:xfrm>
            <a:off x="1295961" y="3081095"/>
            <a:ext cx="10057839" cy="235996"/>
          </a:xfrm>
        </p:spPr>
        <p:txBody>
          <a:bodyPr anchor="ctr">
            <a:noAutofit/>
          </a:bodyPr>
          <a:lstStyle>
            <a:lvl1pPr marL="0" indent="0" algn="l">
              <a:spcBef>
                <a:spcPts val="0"/>
              </a:spcBef>
              <a:buNone/>
              <a:defRPr sz="1400" baseline="0">
                <a:solidFill>
                  <a:srgbClr val="8F959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7268" y="2361877"/>
            <a:ext cx="2571127" cy="576926"/>
          </a:xfrm>
          <a:prstGeom prst="rect">
            <a:avLst/>
          </a:prstGeom>
        </p:spPr>
      </p:pic>
      <p:sp>
        <p:nvSpPr>
          <p:cNvPr id="14" name="Rectangle 13"/>
          <p:cNvSpPr/>
          <p:nvPr userDrawn="1"/>
        </p:nvSpPr>
        <p:spPr>
          <a:xfrm>
            <a:off x="0" y="-1"/>
            <a:ext cx="12191998" cy="747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p:cNvSpPr>
            <a:spLocks noGrp="1"/>
          </p:cNvSpPr>
          <p:nvPr>
            <p:ph type="ctrTitle" hasCustomPrompt="1"/>
          </p:nvPr>
        </p:nvSpPr>
        <p:spPr>
          <a:xfrm>
            <a:off x="1295960" y="517079"/>
            <a:ext cx="10057839" cy="1167875"/>
          </a:xfrm>
        </p:spPr>
        <p:txBody>
          <a:bodyPr anchor="b">
            <a:noAutofit/>
          </a:bodyPr>
          <a:lstStyle>
            <a:lvl1pPr algn="l">
              <a:defRPr sz="3600" baseline="0">
                <a:solidFill>
                  <a:srgbClr val="0068B4"/>
                </a:solidFill>
              </a:defRPr>
            </a:lvl1pPr>
          </a:lstStyle>
          <a:p>
            <a:r>
              <a:rPr lang="en-US" dirty="0"/>
              <a:t>Type your “Thank you” text</a:t>
            </a:r>
          </a:p>
        </p:txBody>
      </p:sp>
      <p:sp>
        <p:nvSpPr>
          <p:cNvPr id="12" name="TextBox 11"/>
          <p:cNvSpPr txBox="1"/>
          <p:nvPr userDrawn="1"/>
        </p:nvSpPr>
        <p:spPr>
          <a:xfrm>
            <a:off x="1295960" y="4149787"/>
            <a:ext cx="4127092" cy="1815882"/>
          </a:xfrm>
          <a:prstGeom prst="rect">
            <a:avLst/>
          </a:prstGeom>
          <a:noFill/>
        </p:spPr>
        <p:txBody>
          <a:bodyPr wrap="square" rtlCol="0">
            <a:noAutofit/>
          </a:bodyPr>
          <a:lstStyle/>
          <a:p>
            <a:r>
              <a:rPr lang="en-US" sz="1400" b="1" dirty="0">
                <a:latin typeface="Arial" panose="020B0604020202020204" pitchFamily="34" charset="0"/>
                <a:cs typeface="Arial" panose="020B0604020202020204" pitchFamily="34" charset="0"/>
              </a:rPr>
              <a:t>Utimaco IS GmbH</a:t>
            </a:r>
          </a:p>
          <a:p>
            <a:endParaRPr lang="en-US" sz="1400" dirty="0">
              <a:latin typeface="Arial" panose="020B0604020202020204" pitchFamily="34" charset="0"/>
              <a:cs typeface="Arial" panose="020B0604020202020204" pitchFamily="34" charset="0"/>
            </a:endParaRPr>
          </a:p>
          <a:p>
            <a:r>
              <a:rPr lang="en-US" sz="1400" dirty="0" err="1">
                <a:latin typeface="Arial" panose="020B0604020202020204" pitchFamily="34" charset="0"/>
                <a:cs typeface="Arial" panose="020B0604020202020204" pitchFamily="34" charset="0"/>
              </a:rPr>
              <a:t>Germanusstraße</a:t>
            </a:r>
            <a:r>
              <a:rPr lang="en-US" sz="1400" dirty="0">
                <a:latin typeface="Arial" panose="020B0604020202020204" pitchFamily="34" charset="0"/>
                <a:cs typeface="Arial" panose="020B0604020202020204" pitchFamily="34" charset="0"/>
              </a:rPr>
              <a:t> 4</a:t>
            </a:r>
          </a:p>
          <a:p>
            <a:r>
              <a:rPr lang="en-US" sz="1400" dirty="0">
                <a:latin typeface="Arial" panose="020B0604020202020204" pitchFamily="34" charset="0"/>
                <a:cs typeface="Arial" panose="020B0604020202020204" pitchFamily="34" charset="0"/>
              </a:rPr>
              <a:t>52080 Aachen</a:t>
            </a:r>
          </a:p>
          <a:p>
            <a:r>
              <a:rPr lang="en-US" sz="1400" dirty="0">
                <a:latin typeface="Arial" panose="020B0604020202020204" pitchFamily="34" charset="0"/>
                <a:cs typeface="Arial" panose="020B0604020202020204" pitchFamily="34" charset="0"/>
              </a:rPr>
              <a:t>Germany</a:t>
            </a:r>
          </a:p>
          <a:p>
            <a:r>
              <a:rPr lang="en-US" sz="1400" dirty="0">
                <a:latin typeface="Arial" panose="020B0604020202020204" pitchFamily="34" charset="0"/>
                <a:cs typeface="Arial" panose="020B0604020202020204" pitchFamily="34" charset="0"/>
              </a:rPr>
              <a:t>Tel +49 241 1696 200</a:t>
            </a:r>
          </a:p>
          <a:p>
            <a:r>
              <a:rPr lang="en-US" sz="1400" dirty="0">
                <a:latin typeface="Arial" panose="020B0604020202020204" pitchFamily="34" charset="0"/>
                <a:cs typeface="Arial" panose="020B0604020202020204" pitchFamily="34" charset="0"/>
              </a:rPr>
              <a:t>Fax +49 241 1696 199</a:t>
            </a:r>
          </a:p>
          <a:p>
            <a:r>
              <a:rPr lang="en-US" sz="1400" dirty="0">
                <a:latin typeface="Arial" panose="020B0604020202020204" pitchFamily="34" charset="0"/>
                <a:cs typeface="Arial" panose="020B0604020202020204" pitchFamily="34" charset="0"/>
              </a:rPr>
              <a:t>Email </a:t>
            </a:r>
            <a:r>
              <a:rPr lang="en-US" sz="1400" u="none" dirty="0">
                <a:solidFill>
                  <a:srgbClr val="0068B4"/>
                </a:solidFill>
                <a:latin typeface="Arial" panose="020B0604020202020204" pitchFamily="34" charset="0"/>
                <a:cs typeface="Arial" panose="020B0604020202020204" pitchFamily="34" charset="0"/>
                <a:hlinkClick r:id="rId3"/>
              </a:rPr>
              <a:t>hsm@utimaco.com</a:t>
            </a:r>
            <a:r>
              <a:rPr lang="en-US" sz="1400" u="none" dirty="0">
                <a:solidFill>
                  <a:srgbClr val="0068B4"/>
                </a:solidFill>
                <a:latin typeface="Arial" panose="020B0604020202020204" pitchFamily="34" charset="0"/>
                <a:cs typeface="Arial" panose="020B0604020202020204" pitchFamily="34" charset="0"/>
              </a:rPr>
              <a:t> </a:t>
            </a:r>
          </a:p>
        </p:txBody>
      </p:sp>
      <p:sp>
        <p:nvSpPr>
          <p:cNvPr id="16" name="TextBox 15"/>
          <p:cNvSpPr txBox="1"/>
          <p:nvPr userDrawn="1"/>
        </p:nvSpPr>
        <p:spPr>
          <a:xfrm>
            <a:off x="7226707" y="4149787"/>
            <a:ext cx="4127092" cy="1815882"/>
          </a:xfrm>
          <a:prstGeom prst="rect">
            <a:avLst/>
          </a:prstGeom>
          <a:noFill/>
        </p:spPr>
        <p:txBody>
          <a:bodyPr wrap="square" rtlCol="0">
            <a:noAutofit/>
          </a:bodyPr>
          <a:lstStyle/>
          <a:p>
            <a:r>
              <a:rPr lang="en-US" sz="1400" b="1" dirty="0">
                <a:latin typeface="Arial" panose="020B0604020202020204" pitchFamily="34" charset="0"/>
                <a:cs typeface="Arial" panose="020B0604020202020204" pitchFamily="34" charset="0"/>
              </a:rPr>
              <a:t>Utimaco Inc.</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Suite 150</a:t>
            </a:r>
          </a:p>
          <a:p>
            <a:r>
              <a:rPr lang="en-US" sz="1400" dirty="0">
                <a:latin typeface="Arial" panose="020B0604020202020204" pitchFamily="34" charset="0"/>
                <a:cs typeface="Arial" panose="020B0604020202020204" pitchFamily="34" charset="0"/>
              </a:rPr>
              <a:t>910 E Hamilton Ave</a:t>
            </a:r>
          </a:p>
          <a:p>
            <a:r>
              <a:rPr lang="en-US" sz="1400" dirty="0">
                <a:latin typeface="Arial" panose="020B0604020202020204" pitchFamily="34" charset="0"/>
                <a:cs typeface="Arial" panose="020B0604020202020204" pitchFamily="34" charset="0"/>
              </a:rPr>
              <a:t>Campbell,</a:t>
            </a:r>
            <a:r>
              <a:rPr lang="en-US" sz="1400" baseline="0" dirty="0">
                <a:latin typeface="Arial" panose="020B0604020202020204" pitchFamily="34" charset="0"/>
                <a:cs typeface="Arial" panose="020B0604020202020204" pitchFamily="34" charset="0"/>
              </a:rPr>
              <a:t> CA 95008</a:t>
            </a:r>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United States of America</a:t>
            </a:r>
          </a:p>
          <a:p>
            <a:r>
              <a:rPr lang="en-US" sz="1400" dirty="0">
                <a:latin typeface="Arial" panose="020B0604020202020204" pitchFamily="34" charset="0"/>
                <a:cs typeface="Arial" panose="020B0604020202020204" pitchFamily="34" charset="0"/>
              </a:rPr>
              <a:t>Tel +1 844 884 6226</a:t>
            </a:r>
          </a:p>
          <a:p>
            <a:r>
              <a:rPr lang="en-US" sz="1400" dirty="0">
                <a:latin typeface="Arial" panose="020B0604020202020204" pitchFamily="34" charset="0"/>
                <a:cs typeface="Arial" panose="020B0604020202020204" pitchFamily="34" charset="0"/>
              </a:rPr>
              <a:t>Email </a:t>
            </a:r>
            <a:r>
              <a:rPr lang="en-US" sz="1400" dirty="0">
                <a:solidFill>
                  <a:srgbClr val="0068B4"/>
                </a:solidFill>
                <a:latin typeface="Arial" panose="020B0604020202020204" pitchFamily="34" charset="0"/>
                <a:cs typeface="Arial" panose="020B0604020202020204" pitchFamily="34" charset="0"/>
                <a:hlinkClick r:id="rId3"/>
              </a:rPr>
              <a:t>hsm@utimaco.com</a:t>
            </a:r>
            <a:r>
              <a:rPr lang="en-US" sz="1400" dirty="0">
                <a:solidFill>
                  <a:srgbClr val="0068B4"/>
                </a:solidFill>
                <a:latin typeface="Arial" panose="020B0604020202020204" pitchFamily="34" charset="0"/>
                <a:cs typeface="Arial" panose="020B0604020202020204" pitchFamily="34" charset="0"/>
              </a:rPr>
              <a:t> </a:t>
            </a:r>
          </a:p>
        </p:txBody>
      </p:sp>
      <p:sp>
        <p:nvSpPr>
          <p:cNvPr id="19" name="Rectangle 18"/>
          <p:cNvSpPr/>
          <p:nvPr userDrawn="1"/>
        </p:nvSpPr>
        <p:spPr>
          <a:xfrm rot="5400000">
            <a:off x="341951" y="5034868"/>
            <a:ext cx="1704980"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0" name="Rectangle 19"/>
          <p:cNvSpPr/>
          <p:nvPr userDrawn="1"/>
        </p:nvSpPr>
        <p:spPr>
          <a:xfrm rot="5400000">
            <a:off x="6272700" y="5040430"/>
            <a:ext cx="1704980"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1" name="Content Placeholder 18"/>
          <p:cNvSpPr>
            <a:spLocks noGrp="1"/>
          </p:cNvSpPr>
          <p:nvPr>
            <p:ph sz="quarter" idx="13" hasCustomPrompt="1"/>
          </p:nvPr>
        </p:nvSpPr>
        <p:spPr>
          <a:xfrm>
            <a:off x="1295962" y="2642048"/>
            <a:ext cx="10057838" cy="427294"/>
          </a:xfrm>
        </p:spPr>
        <p:txBody>
          <a:bodyPr>
            <a:noAutofit/>
          </a:bodyPr>
          <a:lstStyle>
            <a:lvl1pPr marL="0" indent="0">
              <a:buNone/>
              <a:defRPr sz="2000" baseline="0">
                <a:solidFill>
                  <a:schemeClr val="tx1"/>
                </a:solidFill>
              </a:defRPr>
            </a:lvl1pPr>
          </a:lstStyle>
          <a:p>
            <a:pPr lvl="0"/>
            <a:r>
              <a:rPr lang="en-US" dirty="0"/>
              <a:t>Presenter Name</a:t>
            </a:r>
          </a:p>
        </p:txBody>
      </p:sp>
      <p:sp>
        <p:nvSpPr>
          <p:cNvPr id="22" name="Content Placeholder 18"/>
          <p:cNvSpPr>
            <a:spLocks noGrp="1"/>
          </p:cNvSpPr>
          <p:nvPr>
            <p:ph sz="quarter" idx="14" hasCustomPrompt="1"/>
          </p:nvPr>
        </p:nvSpPr>
        <p:spPr>
          <a:xfrm>
            <a:off x="1295961" y="3328844"/>
            <a:ext cx="10057838" cy="258545"/>
          </a:xfrm>
        </p:spPr>
        <p:txBody>
          <a:bodyPr>
            <a:noAutofit/>
          </a:bodyPr>
          <a:lstStyle>
            <a:lvl1pPr marL="0" indent="0">
              <a:buNone/>
              <a:defRPr sz="1400" baseline="0">
                <a:solidFill>
                  <a:srgbClr val="0068B4"/>
                </a:solidFill>
              </a:defRPr>
            </a:lvl1pPr>
          </a:lstStyle>
          <a:p>
            <a:pPr lvl="0"/>
            <a:r>
              <a:rPr lang="en-US" dirty="0"/>
              <a:t>Presenter email address</a:t>
            </a:r>
          </a:p>
        </p:txBody>
      </p:sp>
    </p:spTree>
    <p:extLst>
      <p:ext uri="{BB962C8B-B14F-4D97-AF65-F5344CB8AC3E}">
        <p14:creationId xmlns:p14="http://schemas.microsoft.com/office/powerpoint/2010/main" val="255686538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32680"/>
            <a:ext cx="5181600" cy="4844284"/>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332680"/>
            <a:ext cx="5181600" cy="4844284"/>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18"/>
          <p:cNvSpPr>
            <a:spLocks noGrp="1"/>
          </p:cNvSpPr>
          <p:nvPr>
            <p:ph sz="quarter" idx="13"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1"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46637096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Content_Two-Conten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3146323"/>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3146323"/>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2"/>
          <p:cNvSpPr>
            <a:spLocks noGrp="1"/>
          </p:cNvSpPr>
          <p:nvPr>
            <p:ph idx="13"/>
          </p:nvPr>
        </p:nvSpPr>
        <p:spPr>
          <a:xfrm>
            <a:off x="838200" y="1337186"/>
            <a:ext cx="10515600" cy="1720647"/>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41002998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Contents-One-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9" y="1337186"/>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199" y="1337186"/>
            <a:ext cx="5181600" cy="3030640"/>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6" name="Footer Placeholder 5"/>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7" name="Slide Number Placeholder 6"/>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10" name="Content Placeholder 2"/>
          <p:cNvSpPr>
            <a:spLocks noGrp="1"/>
          </p:cNvSpPr>
          <p:nvPr>
            <p:ph idx="13"/>
          </p:nvPr>
        </p:nvSpPr>
        <p:spPr>
          <a:xfrm>
            <a:off x="838199" y="4454012"/>
            <a:ext cx="10515600" cy="1720647"/>
          </a:xfrm>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8"/>
          <p:cNvSpPr>
            <a:spLocks noGrp="1"/>
          </p:cNvSpPr>
          <p:nvPr>
            <p:ph sz="quarter" idx="14" hasCustomPrompt="1"/>
          </p:nvPr>
        </p:nvSpPr>
        <p:spPr>
          <a:xfrm>
            <a:off x="838199" y="762409"/>
            <a:ext cx="10515600" cy="427294"/>
          </a:xfrm>
        </p:spPr>
        <p:txBody>
          <a:bodyPr>
            <a:noAutofit/>
          </a:bodyPr>
          <a:lstStyle>
            <a:lvl1pPr marL="0" indent="0">
              <a:buNone/>
              <a:defRPr sz="2000" baseline="0">
                <a:solidFill>
                  <a:srgbClr val="8F9597"/>
                </a:solidFill>
              </a:defRPr>
            </a:lvl1pPr>
          </a:lstStyle>
          <a:p>
            <a:pPr lvl="0"/>
            <a:r>
              <a:rPr lang="en-US" dirty="0"/>
              <a:t>Click to edit Subtitle style</a:t>
            </a:r>
          </a:p>
        </p:txBody>
      </p:sp>
      <p:sp>
        <p:nvSpPr>
          <p:cNvPr id="12" name="Title 1"/>
          <p:cNvSpPr>
            <a:spLocks noGrp="1"/>
          </p:cNvSpPr>
          <p:nvPr>
            <p:ph type="title"/>
          </p:nvPr>
        </p:nvSpPr>
        <p:spPr>
          <a:xfrm>
            <a:off x="838199" y="74087"/>
            <a:ext cx="10515600" cy="545346"/>
          </a:xfrm>
        </p:spPr>
        <p:txBody>
          <a:bodyPr>
            <a:noAutofit/>
          </a:bodyPr>
          <a:lstStyle>
            <a:lvl1pPr>
              <a:defRPr sz="2800">
                <a:solidFill>
                  <a:srgbClr val="0068B4"/>
                </a:solidFill>
              </a:defRPr>
            </a:lvl1pPr>
          </a:lstStyle>
          <a:p>
            <a:r>
              <a:rPr lang="en-US"/>
              <a:t>Click to edit Master title style</a:t>
            </a:r>
            <a:endParaRPr lang="en-US" dirty="0"/>
          </a:p>
        </p:txBody>
      </p:sp>
    </p:spTree>
    <p:extLst>
      <p:ext uri="{BB962C8B-B14F-4D97-AF65-F5344CB8AC3E}">
        <p14:creationId xmlns:p14="http://schemas.microsoft.com/office/powerpoint/2010/main" val="285619003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199" y="6404476"/>
            <a:ext cx="3129643" cy="365125"/>
          </a:xfrm>
          <a:prstGeom prst="rect">
            <a:avLst/>
          </a:prstGeom>
        </p:spPr>
        <p:txBody>
          <a:bodyPr>
            <a:noAutofit/>
          </a:bodyPr>
          <a:lstStyle/>
          <a:p>
            <a:fld id="{2D0681FE-D3F3-4F0E-9259-DC01D992F8A0}" type="datetimeFigureOut">
              <a:rPr lang="en-US" smtClean="0"/>
              <a:t>5/16/2019</a:t>
            </a:fld>
            <a:endParaRPr lang="en-US"/>
          </a:p>
        </p:txBody>
      </p:sp>
      <p:sp>
        <p:nvSpPr>
          <p:cNvPr id="5" name="Footer Placeholder 4"/>
          <p:cNvSpPr>
            <a:spLocks noGrp="1"/>
          </p:cNvSpPr>
          <p:nvPr>
            <p:ph type="ftr" sz="quarter" idx="11"/>
          </p:nvPr>
        </p:nvSpPr>
        <p:spPr>
          <a:xfrm>
            <a:off x="4038600" y="6404476"/>
            <a:ext cx="4114800" cy="365125"/>
          </a:xfrm>
          <a:prstGeom prst="rect">
            <a:avLst/>
          </a:prstGeom>
        </p:spPr>
        <p:txBody>
          <a:bodyPr>
            <a:noAutofit/>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noAutofit/>
          </a:bodyPr>
          <a:lstStyle/>
          <a:p>
            <a:fld id="{F176C07A-6A11-4181-8F1B-F89101FEA2C9}" type="slidenum">
              <a:rPr lang="en-US" smtClean="0"/>
              <a:t>‹#›</a:t>
            </a:fld>
            <a:endParaRPr lang="en-US"/>
          </a:p>
        </p:txBody>
      </p:sp>
      <p:sp>
        <p:nvSpPr>
          <p:cNvPr id="7" name="Rectangle 6"/>
          <p:cNvSpPr/>
          <p:nvPr userDrawn="1"/>
        </p:nvSpPr>
        <p:spPr>
          <a:xfrm>
            <a:off x="1393728" y="1764001"/>
            <a:ext cx="10798271"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Rectangle 7"/>
          <p:cNvSpPr/>
          <p:nvPr userDrawn="1"/>
        </p:nvSpPr>
        <p:spPr>
          <a:xfrm>
            <a:off x="1" y="1764002"/>
            <a:ext cx="838195"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p:cNvSpPr/>
          <p:nvPr userDrawn="1"/>
        </p:nvSpPr>
        <p:spPr>
          <a:xfrm>
            <a:off x="0" y="6217986"/>
            <a:ext cx="12191998" cy="6451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p:cNvSpPr/>
          <p:nvPr userDrawn="1"/>
        </p:nvSpPr>
        <p:spPr>
          <a:xfrm>
            <a:off x="935962" y="1764001"/>
            <a:ext cx="360000" cy="360000"/>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3" name="Subtitle 2"/>
          <p:cNvSpPr>
            <a:spLocks noGrp="1"/>
          </p:cNvSpPr>
          <p:nvPr>
            <p:ph type="subTitle" idx="1" hasCustomPrompt="1"/>
          </p:nvPr>
        </p:nvSpPr>
        <p:spPr>
          <a:xfrm>
            <a:off x="1295961" y="3081095"/>
            <a:ext cx="10057839" cy="235996"/>
          </a:xfrm>
        </p:spPr>
        <p:txBody>
          <a:bodyPr anchor="ctr">
            <a:noAutofit/>
          </a:bodyPr>
          <a:lstStyle>
            <a:lvl1pPr marL="0" indent="0" algn="l">
              <a:spcBef>
                <a:spcPts val="0"/>
              </a:spcBef>
              <a:buNone/>
              <a:defRPr sz="1400" baseline="0">
                <a:solidFill>
                  <a:srgbClr val="8F959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7268" y="2361877"/>
            <a:ext cx="2571127" cy="576926"/>
          </a:xfrm>
          <a:prstGeom prst="rect">
            <a:avLst/>
          </a:prstGeom>
        </p:spPr>
      </p:pic>
      <p:sp>
        <p:nvSpPr>
          <p:cNvPr id="14" name="Rectangle 13"/>
          <p:cNvSpPr/>
          <p:nvPr userDrawn="1"/>
        </p:nvSpPr>
        <p:spPr>
          <a:xfrm>
            <a:off x="0" y="-1"/>
            <a:ext cx="12191998" cy="747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p:cNvSpPr>
            <a:spLocks noGrp="1"/>
          </p:cNvSpPr>
          <p:nvPr>
            <p:ph type="ctrTitle" hasCustomPrompt="1"/>
          </p:nvPr>
        </p:nvSpPr>
        <p:spPr>
          <a:xfrm>
            <a:off x="1295960" y="517079"/>
            <a:ext cx="10057839" cy="1167875"/>
          </a:xfrm>
        </p:spPr>
        <p:txBody>
          <a:bodyPr anchor="b">
            <a:noAutofit/>
          </a:bodyPr>
          <a:lstStyle>
            <a:lvl1pPr algn="l">
              <a:defRPr sz="3600" baseline="0">
                <a:solidFill>
                  <a:srgbClr val="0068B4"/>
                </a:solidFill>
              </a:defRPr>
            </a:lvl1pPr>
          </a:lstStyle>
          <a:p>
            <a:r>
              <a:rPr lang="en-US" dirty="0"/>
              <a:t>Type your “Thank you” text</a:t>
            </a:r>
          </a:p>
        </p:txBody>
      </p:sp>
      <p:sp>
        <p:nvSpPr>
          <p:cNvPr id="12" name="TextBox 11"/>
          <p:cNvSpPr txBox="1"/>
          <p:nvPr userDrawn="1"/>
        </p:nvSpPr>
        <p:spPr>
          <a:xfrm>
            <a:off x="1295960" y="4149787"/>
            <a:ext cx="4127092" cy="1815882"/>
          </a:xfrm>
          <a:prstGeom prst="rect">
            <a:avLst/>
          </a:prstGeom>
          <a:noFill/>
        </p:spPr>
        <p:txBody>
          <a:bodyPr wrap="square" rtlCol="0">
            <a:noAutofit/>
          </a:bodyPr>
          <a:lstStyle/>
          <a:p>
            <a:r>
              <a:rPr lang="en-US" sz="1400" b="1" dirty="0">
                <a:latin typeface="Arial" panose="020B0604020202020204" pitchFamily="34" charset="0"/>
                <a:cs typeface="Arial" panose="020B0604020202020204" pitchFamily="34" charset="0"/>
              </a:rPr>
              <a:t>Utimaco IS GmbH</a:t>
            </a:r>
          </a:p>
          <a:p>
            <a:endParaRPr lang="en-US" sz="1400" dirty="0">
              <a:latin typeface="Arial" panose="020B0604020202020204" pitchFamily="34" charset="0"/>
              <a:cs typeface="Arial" panose="020B0604020202020204" pitchFamily="34" charset="0"/>
            </a:endParaRPr>
          </a:p>
          <a:p>
            <a:r>
              <a:rPr lang="en-US" sz="1400" dirty="0" err="1">
                <a:latin typeface="Arial" panose="020B0604020202020204" pitchFamily="34" charset="0"/>
                <a:cs typeface="Arial" panose="020B0604020202020204" pitchFamily="34" charset="0"/>
              </a:rPr>
              <a:t>Germanusstraße</a:t>
            </a:r>
            <a:r>
              <a:rPr lang="en-US" sz="1400" dirty="0">
                <a:latin typeface="Arial" panose="020B0604020202020204" pitchFamily="34" charset="0"/>
                <a:cs typeface="Arial" panose="020B0604020202020204" pitchFamily="34" charset="0"/>
              </a:rPr>
              <a:t> 4</a:t>
            </a:r>
          </a:p>
          <a:p>
            <a:r>
              <a:rPr lang="en-US" sz="1400" dirty="0">
                <a:latin typeface="Arial" panose="020B0604020202020204" pitchFamily="34" charset="0"/>
                <a:cs typeface="Arial" panose="020B0604020202020204" pitchFamily="34" charset="0"/>
              </a:rPr>
              <a:t>52080 Aachen</a:t>
            </a:r>
          </a:p>
          <a:p>
            <a:r>
              <a:rPr lang="en-US" sz="1400" dirty="0">
                <a:latin typeface="Arial" panose="020B0604020202020204" pitchFamily="34" charset="0"/>
                <a:cs typeface="Arial" panose="020B0604020202020204" pitchFamily="34" charset="0"/>
              </a:rPr>
              <a:t>Germany</a:t>
            </a:r>
          </a:p>
          <a:p>
            <a:r>
              <a:rPr lang="en-US" sz="1400" dirty="0">
                <a:latin typeface="Arial" panose="020B0604020202020204" pitchFamily="34" charset="0"/>
                <a:cs typeface="Arial" panose="020B0604020202020204" pitchFamily="34" charset="0"/>
              </a:rPr>
              <a:t>Tel +49 241 1696 200</a:t>
            </a:r>
          </a:p>
          <a:p>
            <a:r>
              <a:rPr lang="en-US" sz="1400" dirty="0">
                <a:latin typeface="Arial" panose="020B0604020202020204" pitchFamily="34" charset="0"/>
                <a:cs typeface="Arial" panose="020B0604020202020204" pitchFamily="34" charset="0"/>
              </a:rPr>
              <a:t>Fax +49 241 1696 199</a:t>
            </a:r>
          </a:p>
          <a:p>
            <a:r>
              <a:rPr lang="en-US" sz="1400" dirty="0">
                <a:latin typeface="Arial" panose="020B0604020202020204" pitchFamily="34" charset="0"/>
                <a:cs typeface="Arial" panose="020B0604020202020204" pitchFamily="34" charset="0"/>
              </a:rPr>
              <a:t>Email </a:t>
            </a:r>
            <a:r>
              <a:rPr lang="en-US" sz="1400" u="none" dirty="0">
                <a:solidFill>
                  <a:srgbClr val="0068B4"/>
                </a:solidFill>
                <a:latin typeface="Arial" panose="020B0604020202020204" pitchFamily="34" charset="0"/>
                <a:cs typeface="Arial" panose="020B0604020202020204" pitchFamily="34" charset="0"/>
                <a:hlinkClick r:id="rId3"/>
              </a:rPr>
              <a:t>hsm@utimaco.com</a:t>
            </a:r>
            <a:r>
              <a:rPr lang="en-US" sz="1400" u="none" dirty="0">
                <a:solidFill>
                  <a:srgbClr val="0068B4"/>
                </a:solidFill>
                <a:latin typeface="Arial" panose="020B0604020202020204" pitchFamily="34" charset="0"/>
                <a:cs typeface="Arial" panose="020B0604020202020204" pitchFamily="34" charset="0"/>
              </a:rPr>
              <a:t> </a:t>
            </a:r>
          </a:p>
        </p:txBody>
      </p:sp>
      <p:sp>
        <p:nvSpPr>
          <p:cNvPr id="16" name="TextBox 15"/>
          <p:cNvSpPr txBox="1"/>
          <p:nvPr userDrawn="1"/>
        </p:nvSpPr>
        <p:spPr>
          <a:xfrm>
            <a:off x="7226707" y="4149787"/>
            <a:ext cx="4127092" cy="1815882"/>
          </a:xfrm>
          <a:prstGeom prst="rect">
            <a:avLst/>
          </a:prstGeom>
          <a:noFill/>
        </p:spPr>
        <p:txBody>
          <a:bodyPr wrap="square" rtlCol="0">
            <a:noAutofit/>
          </a:bodyPr>
          <a:lstStyle/>
          <a:p>
            <a:r>
              <a:rPr lang="en-US" sz="1400" b="1" dirty="0">
                <a:latin typeface="Arial" panose="020B0604020202020204" pitchFamily="34" charset="0"/>
                <a:cs typeface="Arial" panose="020B0604020202020204" pitchFamily="34" charset="0"/>
              </a:rPr>
              <a:t>Utimaco Inc.</a:t>
            </a:r>
          </a:p>
          <a:p>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Suite 150</a:t>
            </a:r>
          </a:p>
          <a:p>
            <a:r>
              <a:rPr lang="en-US" sz="1400" dirty="0">
                <a:latin typeface="Arial" panose="020B0604020202020204" pitchFamily="34" charset="0"/>
                <a:cs typeface="Arial" panose="020B0604020202020204" pitchFamily="34" charset="0"/>
              </a:rPr>
              <a:t>910 E Hamilton Ave</a:t>
            </a:r>
          </a:p>
          <a:p>
            <a:r>
              <a:rPr lang="en-US" sz="1400" dirty="0">
                <a:latin typeface="Arial" panose="020B0604020202020204" pitchFamily="34" charset="0"/>
                <a:cs typeface="Arial" panose="020B0604020202020204" pitchFamily="34" charset="0"/>
              </a:rPr>
              <a:t>Campbell,</a:t>
            </a:r>
            <a:r>
              <a:rPr lang="en-US" sz="1400" baseline="0" dirty="0">
                <a:latin typeface="Arial" panose="020B0604020202020204" pitchFamily="34" charset="0"/>
                <a:cs typeface="Arial" panose="020B0604020202020204" pitchFamily="34" charset="0"/>
              </a:rPr>
              <a:t> CA 95008</a:t>
            </a:r>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United States of America</a:t>
            </a:r>
          </a:p>
          <a:p>
            <a:r>
              <a:rPr lang="en-US" sz="1400" dirty="0">
                <a:latin typeface="Arial" panose="020B0604020202020204" pitchFamily="34" charset="0"/>
                <a:cs typeface="Arial" panose="020B0604020202020204" pitchFamily="34" charset="0"/>
              </a:rPr>
              <a:t>Tel +1 844 884 6226</a:t>
            </a:r>
          </a:p>
          <a:p>
            <a:r>
              <a:rPr lang="en-US" sz="1400" dirty="0">
                <a:latin typeface="Arial" panose="020B0604020202020204" pitchFamily="34" charset="0"/>
                <a:cs typeface="Arial" panose="020B0604020202020204" pitchFamily="34" charset="0"/>
              </a:rPr>
              <a:t>Email </a:t>
            </a:r>
            <a:r>
              <a:rPr lang="en-US" sz="1400" dirty="0">
                <a:solidFill>
                  <a:srgbClr val="0068B4"/>
                </a:solidFill>
                <a:latin typeface="Arial" panose="020B0604020202020204" pitchFamily="34" charset="0"/>
                <a:cs typeface="Arial" panose="020B0604020202020204" pitchFamily="34" charset="0"/>
                <a:hlinkClick r:id="rId3"/>
              </a:rPr>
              <a:t>hsm@utimaco.com</a:t>
            </a:r>
            <a:r>
              <a:rPr lang="en-US" sz="1400" dirty="0">
                <a:solidFill>
                  <a:srgbClr val="0068B4"/>
                </a:solidFill>
                <a:latin typeface="Arial" panose="020B0604020202020204" pitchFamily="34" charset="0"/>
                <a:cs typeface="Arial" panose="020B0604020202020204" pitchFamily="34" charset="0"/>
              </a:rPr>
              <a:t> </a:t>
            </a:r>
          </a:p>
        </p:txBody>
      </p:sp>
      <p:sp>
        <p:nvSpPr>
          <p:cNvPr id="19" name="Rectangle 18"/>
          <p:cNvSpPr/>
          <p:nvPr userDrawn="1"/>
        </p:nvSpPr>
        <p:spPr>
          <a:xfrm rot="5400000">
            <a:off x="341951" y="5034868"/>
            <a:ext cx="1704980"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0" name="Rectangle 19"/>
          <p:cNvSpPr/>
          <p:nvPr userDrawn="1"/>
        </p:nvSpPr>
        <p:spPr>
          <a:xfrm rot="5400000">
            <a:off x="6272700" y="5040430"/>
            <a:ext cx="1704980"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1" name="Content Placeholder 18"/>
          <p:cNvSpPr>
            <a:spLocks noGrp="1"/>
          </p:cNvSpPr>
          <p:nvPr>
            <p:ph sz="quarter" idx="13" hasCustomPrompt="1"/>
          </p:nvPr>
        </p:nvSpPr>
        <p:spPr>
          <a:xfrm>
            <a:off x="1295962" y="2642048"/>
            <a:ext cx="10057838" cy="427294"/>
          </a:xfrm>
        </p:spPr>
        <p:txBody>
          <a:bodyPr>
            <a:noAutofit/>
          </a:bodyPr>
          <a:lstStyle>
            <a:lvl1pPr marL="0" indent="0">
              <a:buNone/>
              <a:defRPr sz="2000" baseline="0">
                <a:solidFill>
                  <a:schemeClr val="tx1"/>
                </a:solidFill>
              </a:defRPr>
            </a:lvl1pPr>
          </a:lstStyle>
          <a:p>
            <a:pPr lvl="0"/>
            <a:r>
              <a:rPr lang="en-US" dirty="0"/>
              <a:t>Presenter Name</a:t>
            </a:r>
          </a:p>
        </p:txBody>
      </p:sp>
      <p:sp>
        <p:nvSpPr>
          <p:cNvPr id="22" name="Content Placeholder 18"/>
          <p:cNvSpPr>
            <a:spLocks noGrp="1"/>
          </p:cNvSpPr>
          <p:nvPr>
            <p:ph sz="quarter" idx="14" hasCustomPrompt="1"/>
          </p:nvPr>
        </p:nvSpPr>
        <p:spPr>
          <a:xfrm>
            <a:off x="1295961" y="3328844"/>
            <a:ext cx="10057838" cy="258545"/>
          </a:xfrm>
        </p:spPr>
        <p:txBody>
          <a:bodyPr>
            <a:noAutofit/>
          </a:bodyPr>
          <a:lstStyle>
            <a:lvl1pPr marL="0" indent="0">
              <a:buNone/>
              <a:defRPr sz="1400" baseline="0">
                <a:solidFill>
                  <a:srgbClr val="0068B4"/>
                </a:solidFill>
              </a:defRPr>
            </a:lvl1pPr>
          </a:lstStyle>
          <a:p>
            <a:pPr lvl="0"/>
            <a:r>
              <a:rPr lang="en-US" dirty="0"/>
              <a:t>Presenter email address</a:t>
            </a:r>
          </a:p>
        </p:txBody>
      </p:sp>
    </p:spTree>
    <p:extLst>
      <p:ext uri="{BB962C8B-B14F-4D97-AF65-F5344CB8AC3E}">
        <p14:creationId xmlns:p14="http://schemas.microsoft.com/office/powerpoint/2010/main" val="204460172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eadline/one-line+mirror-points">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1104000" y="169691"/>
            <a:ext cx="9954525" cy="576000"/>
          </a:xfrm>
          <a:prstGeom prst="rect">
            <a:avLst/>
          </a:prstGeom>
        </p:spPr>
        <p:txBody>
          <a:bodyPr lIns="0" tIns="0" rIns="0" bIns="0"/>
          <a:lstStyle>
            <a:lvl1pPr algn="l">
              <a:lnSpc>
                <a:spcPts val="3100"/>
              </a:lnSpc>
              <a:defRPr sz="2800" b="0">
                <a:solidFill>
                  <a:schemeClr val="tx2"/>
                </a:solidFill>
                <a:latin typeface="Arial" panose="020B0604020202020204" pitchFamily="34" charset="0"/>
                <a:ea typeface="Roboto" panose="02000000000000000000" pitchFamily="2" charset="0"/>
                <a:cs typeface="Arial" panose="020B0604020202020204" pitchFamily="34" charset="0"/>
              </a:defRPr>
            </a:lvl1pPr>
          </a:lstStyle>
          <a:p>
            <a:r>
              <a:rPr lang="en-US" noProof="0" dirty="0"/>
              <a:t>Headline one-line</a:t>
            </a:r>
          </a:p>
        </p:txBody>
      </p:sp>
      <p:sp>
        <p:nvSpPr>
          <p:cNvPr id="7" name="Inhaltsplatzhalter 2"/>
          <p:cNvSpPr>
            <a:spLocks noGrp="1"/>
          </p:cNvSpPr>
          <p:nvPr>
            <p:ph idx="10" hasCustomPrompt="1"/>
          </p:nvPr>
        </p:nvSpPr>
        <p:spPr>
          <a:xfrm>
            <a:off x="1104000" y="1347109"/>
            <a:ext cx="9954525" cy="4077848"/>
          </a:xfrm>
          <a:prstGeom prst="rect">
            <a:avLst/>
          </a:prstGeom>
        </p:spPr>
        <p:txBody>
          <a:bodyPr lIns="0" tIns="0" rIns="0" bIns="0"/>
          <a:lstStyle>
            <a:lvl1pPr marL="252000" indent="-252000">
              <a:lnSpc>
                <a:spcPct val="100000"/>
              </a:lnSpc>
              <a:spcBef>
                <a:spcPts val="0"/>
              </a:spcBef>
              <a:spcAft>
                <a:spcPts val="600"/>
              </a:spcAft>
              <a:buClr>
                <a:schemeClr val="tx2"/>
              </a:buClr>
              <a:buFont typeface="Wingdings" charset="2"/>
              <a:buChar char="§"/>
              <a:defRPr sz="2100">
                <a:latin typeface="Arial" panose="020B0604020202020204" pitchFamily="34" charset="0"/>
                <a:ea typeface="Roboto" panose="02000000000000000000" pitchFamily="2" charset="0"/>
                <a:cs typeface="Arial" panose="020B0604020202020204" pitchFamily="34" charset="0"/>
              </a:defRPr>
            </a:lvl1pPr>
            <a:lvl2pPr marL="446088" indent="-174625">
              <a:lnSpc>
                <a:spcPct val="100000"/>
              </a:lnSpc>
              <a:spcBef>
                <a:spcPts val="0"/>
              </a:spcBef>
              <a:spcAft>
                <a:spcPts val="600"/>
              </a:spcAft>
              <a:buClr>
                <a:schemeClr val="accent2"/>
              </a:buClr>
              <a:buFont typeface="Wingdings" charset="2"/>
              <a:buChar char="§"/>
              <a:defRPr sz="1800">
                <a:latin typeface="Arial" panose="020B0604020202020204" pitchFamily="34" charset="0"/>
                <a:ea typeface="Roboto" panose="02000000000000000000" pitchFamily="2" charset="0"/>
                <a:cs typeface="Arial" panose="020B0604020202020204" pitchFamily="34" charset="0"/>
              </a:defRPr>
            </a:lvl2pPr>
            <a:lvl3pPr marL="627063" marR="0" indent="-180975" algn="l" defTabSz="914400" rtl="0" eaLnBrk="0" fontAlgn="base" latinLnBrk="0" hangingPunct="0">
              <a:lnSpc>
                <a:spcPct val="100000"/>
              </a:lnSpc>
              <a:spcBef>
                <a:spcPts val="0"/>
              </a:spcBef>
              <a:spcAft>
                <a:spcPts val="600"/>
              </a:spcAft>
              <a:buClr>
                <a:schemeClr val="accent2"/>
              </a:buClr>
              <a:buSzPct val="100000"/>
              <a:buFont typeface="Wingdings" charset="2"/>
              <a:buChar char="§"/>
              <a:tabLst/>
              <a:defRPr sz="1600">
                <a:latin typeface="Arial" panose="020B0604020202020204" pitchFamily="34" charset="0"/>
                <a:ea typeface="Roboto" panose="02000000000000000000" pitchFamily="2" charset="0"/>
                <a:cs typeface="Arial" panose="020B0604020202020204" pitchFamily="34" charset="0"/>
              </a:defRPr>
            </a:lvl3pPr>
            <a:lvl4pPr marL="648000" indent="-180000">
              <a:lnSpc>
                <a:spcPct val="100000"/>
              </a:lnSpc>
              <a:spcBef>
                <a:spcPts val="0"/>
              </a:spcBef>
              <a:spcAft>
                <a:spcPts val="600"/>
              </a:spcAft>
              <a:buClr>
                <a:schemeClr val="accent2"/>
              </a:buClr>
              <a:buFont typeface="Wingdings" charset="2"/>
              <a:buChar char="§"/>
              <a:defRPr sz="1300"/>
            </a:lvl4pPr>
          </a:lstStyle>
          <a:p>
            <a:pPr lvl="0"/>
            <a:r>
              <a:rPr lang="en-US" noProof="0" dirty="0"/>
              <a:t>First Level</a:t>
            </a:r>
          </a:p>
          <a:p>
            <a:pPr lvl="1"/>
            <a:r>
              <a:rPr lang="en-US" noProof="0" dirty="0"/>
              <a:t>Second Level</a:t>
            </a:r>
          </a:p>
          <a:p>
            <a:pPr lvl="2"/>
            <a:r>
              <a:rPr lang="en-US" noProof="0" dirty="0"/>
              <a:t>Third Level</a:t>
            </a:r>
          </a:p>
          <a:p>
            <a:pPr marL="627063" marR="0" lvl="2" indent="-271463" algn="l" defTabSz="914400" rtl="0" eaLnBrk="0" fontAlgn="base" latinLnBrk="0" hangingPunct="0">
              <a:lnSpc>
                <a:spcPct val="100000"/>
              </a:lnSpc>
              <a:spcBef>
                <a:spcPct val="20000"/>
              </a:spcBef>
              <a:spcAft>
                <a:spcPct val="30000"/>
              </a:spcAft>
              <a:buClr>
                <a:schemeClr val="accent1"/>
              </a:buClr>
              <a:buSzTx/>
              <a:buFont typeface="Wingdings 2" pitchFamily="-65" charset="2"/>
              <a:buChar char=""/>
              <a:tabLst/>
              <a:defRPr/>
            </a:pPr>
            <a:endParaRPr lang="en-US" noProof="0" dirty="0"/>
          </a:p>
          <a:p>
            <a:pPr lvl="2"/>
            <a:endParaRPr lang="en-US" noProof="0" dirty="0"/>
          </a:p>
          <a:p>
            <a:pPr lvl="0"/>
            <a:endParaRPr lang="en-US" noProof="0" dirty="0"/>
          </a:p>
        </p:txBody>
      </p:sp>
    </p:spTree>
    <p:extLst>
      <p:ext uri="{BB962C8B-B14F-4D97-AF65-F5344CB8AC3E}">
        <p14:creationId xmlns:p14="http://schemas.microsoft.com/office/powerpoint/2010/main" val="91724534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961DC51C-1093-4326-A132-3E046A30A648}" type="datetimeFigureOut">
              <a:rPr lang="en-SG" smtClean="0"/>
              <a:t>16/5/2019</a:t>
            </a:fld>
            <a:endParaRPr lang="en-SG"/>
          </a:p>
        </p:txBody>
      </p:sp>
      <p:sp>
        <p:nvSpPr>
          <p:cNvPr id="5" name="Footer Placeholder 4"/>
          <p:cNvSpPr>
            <a:spLocks noGrp="1"/>
          </p:cNvSpPr>
          <p:nvPr>
            <p:ph type="ftr" sz="quarter" idx="11"/>
          </p:nvPr>
        </p:nvSpPr>
        <p:spPr/>
        <p:txBody>
          <a:bodyPr/>
          <a:lstStyle/>
          <a:p>
            <a:endParaRPr lang="en-SG"/>
          </a:p>
        </p:txBody>
      </p:sp>
      <p:sp>
        <p:nvSpPr>
          <p:cNvPr id="6" name="Slide Number Placeholder 5"/>
          <p:cNvSpPr>
            <a:spLocks noGrp="1"/>
          </p:cNvSpPr>
          <p:nvPr>
            <p:ph type="sldNum" sz="quarter" idx="12"/>
          </p:nvPr>
        </p:nvSpPr>
        <p:spPr/>
        <p:txBody>
          <a:bodyPr/>
          <a:lstStyle/>
          <a:p>
            <a:fld id="{A8FA706C-593C-4CC2-B7BE-84EF41587A34}" type="slidenum">
              <a:rPr lang="en-SG" smtClean="0"/>
              <a:t>‹#›</a:t>
            </a:fld>
            <a:endParaRPr lang="en-SG"/>
          </a:p>
        </p:txBody>
      </p:sp>
    </p:spTree>
    <p:extLst>
      <p:ext uri="{BB962C8B-B14F-4D97-AF65-F5344CB8AC3E}">
        <p14:creationId xmlns:p14="http://schemas.microsoft.com/office/powerpoint/2010/main" val="175790461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95962" y="2323470"/>
            <a:ext cx="10057838" cy="1167875"/>
          </a:xfrm>
        </p:spPr>
        <p:txBody>
          <a:bodyPr anchor="b">
            <a:noAutofit/>
          </a:bodyPr>
          <a:lstStyle>
            <a:lvl1pPr algn="l">
              <a:defRPr sz="3600">
                <a:solidFill>
                  <a:srgbClr val="0068B4"/>
                </a:solidFill>
              </a:defRPr>
            </a:lvl1pPr>
          </a:lstStyle>
          <a:p>
            <a:r>
              <a:rPr lang="en-US" dirty="0"/>
              <a:t>Type your </a:t>
            </a:r>
            <a:br>
              <a:rPr lang="en-US" dirty="0"/>
            </a:br>
            <a:r>
              <a:rPr lang="en-US" dirty="0"/>
              <a:t>Presentation Title</a:t>
            </a:r>
          </a:p>
        </p:txBody>
      </p:sp>
      <p:sp>
        <p:nvSpPr>
          <p:cNvPr id="4" name="Date Placeholder 3"/>
          <p:cNvSpPr>
            <a:spLocks noGrp="1"/>
          </p:cNvSpPr>
          <p:nvPr>
            <p:ph type="dt" sz="half" idx="10"/>
          </p:nvPr>
        </p:nvSpPr>
        <p:spPr>
          <a:xfrm>
            <a:off x="838199" y="6404476"/>
            <a:ext cx="3129643" cy="365125"/>
          </a:xfrm>
          <a:prstGeom prst="rect">
            <a:avLst/>
          </a:prstGeom>
        </p:spPr>
        <p:txBody>
          <a:bodyPr/>
          <a:lstStyle/>
          <a:p>
            <a:fld id="{2D0681FE-D3F3-4F0E-9259-DC01D992F8A0}" type="datetimeFigureOut">
              <a:rPr lang="en-US" smtClean="0"/>
              <a:t>5/16/2019</a:t>
            </a:fld>
            <a:endParaRPr lang="en-US"/>
          </a:p>
        </p:txBody>
      </p:sp>
      <p:sp>
        <p:nvSpPr>
          <p:cNvPr id="5" name="Footer Placeholder 4"/>
          <p:cNvSpPr>
            <a:spLocks noGrp="1"/>
          </p:cNvSpPr>
          <p:nvPr>
            <p:ph type="ftr" sz="quarter" idx="11"/>
          </p:nvPr>
        </p:nvSpPr>
        <p:spPr>
          <a:xfrm>
            <a:off x="4038600" y="6404476"/>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04476"/>
            <a:ext cx="2743200" cy="365125"/>
          </a:xfrm>
          <a:prstGeom prst="rect">
            <a:avLst/>
          </a:prstGeom>
        </p:spPr>
        <p:txBody>
          <a:bodyPr/>
          <a:lstStyle/>
          <a:p>
            <a:fld id="{F176C07A-6A11-4181-8F1B-F89101FEA2C9}" type="slidenum">
              <a:rPr lang="en-US" smtClean="0"/>
              <a:t>‹#›</a:t>
            </a:fld>
            <a:endParaRPr lang="en-US"/>
          </a:p>
        </p:txBody>
      </p:sp>
      <p:sp>
        <p:nvSpPr>
          <p:cNvPr id="10" name="Rectangle 9"/>
          <p:cNvSpPr/>
          <p:nvPr userDrawn="1"/>
        </p:nvSpPr>
        <p:spPr>
          <a:xfrm>
            <a:off x="0" y="6217986"/>
            <a:ext cx="12191998" cy="6451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1295962" y="3591097"/>
            <a:ext cx="10057838" cy="2218217"/>
          </a:xfrm>
        </p:spPr>
        <p:txBody>
          <a:bodyPr/>
          <a:lstStyle>
            <a:lvl1pPr marL="0" indent="0" algn="l">
              <a:lnSpc>
                <a:spcPct val="100000"/>
              </a:lnSpc>
              <a:spcBef>
                <a:spcPts val="0"/>
              </a:spcBef>
              <a:buNone/>
              <a:defRPr sz="1800">
                <a:solidFill>
                  <a:srgbClr val="8F959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Place, Date, Author</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033396" y="5569523"/>
            <a:ext cx="2571127" cy="576926"/>
          </a:xfrm>
          <a:prstGeom prst="rect">
            <a:avLst/>
          </a:prstGeom>
        </p:spPr>
      </p:pic>
      <p:sp>
        <p:nvSpPr>
          <p:cNvPr id="14" name="Rectangle 13"/>
          <p:cNvSpPr/>
          <p:nvPr userDrawn="1"/>
        </p:nvSpPr>
        <p:spPr>
          <a:xfrm>
            <a:off x="1393728" y="1764001"/>
            <a:ext cx="10798271"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 y="1764002"/>
            <a:ext cx="838195" cy="360000"/>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935962" y="1764001"/>
            <a:ext cx="360000" cy="360000"/>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5546" y="-1"/>
            <a:ext cx="12211200" cy="1765977"/>
          </a:xfrm>
          <a:prstGeom prst="rect">
            <a:avLst/>
          </a:prstGeom>
        </p:spPr>
      </p:pic>
    </p:spTree>
    <p:extLst>
      <p:ext uri="{BB962C8B-B14F-4D97-AF65-F5344CB8AC3E}">
        <p14:creationId xmlns:p14="http://schemas.microsoft.com/office/powerpoint/2010/main" val="103476030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4.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1.xml"/><Relationship Id="rId7"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05305"/>
            <a:ext cx="12192000" cy="452694"/>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838200" y="841002"/>
            <a:ext cx="10515600" cy="1325563"/>
          </a:xfrm>
          <a:prstGeom prst="rect">
            <a:avLst/>
          </a:prstGeom>
        </p:spPr>
        <p:txBody>
          <a:bodyPr vert="horz" lIns="91440" tIns="45720" rIns="91440" bIns="45720"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838200" y="2301502"/>
            <a:ext cx="10515600" cy="3875461"/>
          </a:xfrm>
          <a:prstGeom prst="rect">
            <a:avLst/>
          </a:prstGeom>
          <a:effectLst/>
        </p:spPr>
        <p:txBody>
          <a:bodyPr vert="horz" lIns="91440" tIns="45720" rIns="91440" bIns="4572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Rectangle 7"/>
          <p:cNvSpPr/>
          <p:nvPr userDrawn="1"/>
        </p:nvSpPr>
        <p:spPr>
          <a:xfrm>
            <a:off x="1393728" y="660346"/>
            <a:ext cx="10798272"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Rectangle 8"/>
          <p:cNvSpPr/>
          <p:nvPr userDrawn="1"/>
        </p:nvSpPr>
        <p:spPr>
          <a:xfrm>
            <a:off x="2" y="660346"/>
            <a:ext cx="838194"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p:cNvSpPr/>
          <p:nvPr userDrawn="1"/>
        </p:nvSpPr>
        <p:spPr>
          <a:xfrm>
            <a:off x="935962" y="660346"/>
            <a:ext cx="360000" cy="45719"/>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Picture 1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633530" y="191134"/>
            <a:ext cx="1303354" cy="292455"/>
          </a:xfrm>
          <a:prstGeom prst="rect">
            <a:avLst/>
          </a:prstGeom>
        </p:spPr>
      </p:pic>
      <p:sp>
        <p:nvSpPr>
          <p:cNvPr id="18" name="TextBox 17"/>
          <p:cNvSpPr txBox="1"/>
          <p:nvPr userDrawn="1"/>
        </p:nvSpPr>
        <p:spPr>
          <a:xfrm>
            <a:off x="838196" y="6452008"/>
            <a:ext cx="3129646" cy="364295"/>
          </a:xfrm>
          <a:prstGeom prst="rect">
            <a:avLst/>
          </a:prstGeom>
        </p:spPr>
        <p:txBody>
          <a:bodyPr vert="horz" lIns="91440" tIns="45720" rIns="91440" bIns="45720" rtlCol="0" anchor="ctr"/>
          <a:lstStyle>
            <a:defPPr>
              <a:defRPr lang="en-US"/>
            </a:defPPr>
            <a:lvl1pPr>
              <a:defRPr sz="800">
                <a:solidFill>
                  <a:schemeClr val="bg1"/>
                </a:solidFill>
                <a:latin typeface="Arial" panose="020B0604020202020204" pitchFamily="34" charset="0"/>
                <a:cs typeface="Arial" panose="020B0604020202020204" pitchFamily="34" charset="0"/>
              </a:defRPr>
            </a:lvl1pPr>
          </a:lstStyle>
          <a:p>
            <a:pPr lvl="0"/>
            <a:r>
              <a:rPr lang="en-US" sz="800" b="0" i="0" dirty="0"/>
              <a:t>Utimaco HSM Business Unit  ·  Aachen, Germany ·  ©2018</a:t>
            </a:r>
          </a:p>
        </p:txBody>
      </p:sp>
      <p:sp>
        <p:nvSpPr>
          <p:cNvPr id="19" name="TextBox 18"/>
          <p:cNvSpPr txBox="1"/>
          <p:nvPr userDrawn="1"/>
        </p:nvSpPr>
        <p:spPr>
          <a:xfrm>
            <a:off x="4454013" y="6405305"/>
            <a:ext cx="3283974" cy="452694"/>
          </a:xfrm>
          <a:prstGeom prst="rect">
            <a:avLst/>
          </a:prstGeom>
        </p:spPr>
        <p:txBody>
          <a:bodyPr vert="horz" wrap="square" lIns="91440" tIns="45720" rIns="91440" bIns="45720" rtlCol="0" anchor="ctr">
            <a:normAutofit/>
          </a:bodyPr>
          <a:lstStyle/>
          <a:p>
            <a:pPr algn="ctr"/>
            <a:r>
              <a:rPr lang="en-US" sz="800" b="0" i="0" kern="1200" dirty="0">
                <a:solidFill>
                  <a:schemeClr val="bg1"/>
                </a:solidFill>
                <a:latin typeface="Arial" panose="020B0604020202020204" pitchFamily="34" charset="0"/>
                <a:ea typeface="+mn-ea"/>
                <a:cs typeface="Arial" panose="020B0604020202020204" pitchFamily="34" charset="0"/>
              </a:rPr>
              <a:t>hsm.utimaco.com</a:t>
            </a:r>
          </a:p>
        </p:txBody>
      </p:sp>
      <p:sp>
        <p:nvSpPr>
          <p:cNvPr id="20" name="TextBox 19"/>
          <p:cNvSpPr txBox="1"/>
          <p:nvPr userDrawn="1"/>
        </p:nvSpPr>
        <p:spPr>
          <a:xfrm>
            <a:off x="8610600" y="6452008"/>
            <a:ext cx="2743200" cy="365125"/>
          </a:xfrm>
          <a:prstGeom prst="rect">
            <a:avLst/>
          </a:prstGeom>
        </p:spPr>
        <p:txBody>
          <a:bodyPr vert="horz" wrap="square" lIns="91440" tIns="45720" rIns="91440" bIns="45720" rtlCol="0" anchor="ctr">
            <a:normAutofit/>
          </a:bodyPr>
          <a:lstStyle/>
          <a:p>
            <a:pPr algn="r"/>
            <a:r>
              <a:rPr lang="en-US" sz="800" b="0" i="0" kern="1200" dirty="0">
                <a:solidFill>
                  <a:schemeClr val="bg1"/>
                </a:solidFill>
                <a:latin typeface="Arial" panose="020B0604020202020204" pitchFamily="34" charset="0"/>
                <a:ea typeface="+mn-ea"/>
                <a:cs typeface="Arial" panose="020B0604020202020204" pitchFamily="34" charset="0"/>
              </a:rPr>
              <a:t>Page </a:t>
            </a:r>
            <a:fld id="{5D1E2CFF-DC63-4689-905B-F42B50AEB7DB}" type="slidenum">
              <a:rPr lang="en-US" sz="800" b="0" i="0" kern="1200" smtClean="0">
                <a:solidFill>
                  <a:schemeClr val="bg1"/>
                </a:solidFill>
                <a:latin typeface="Arial" panose="020B0604020202020204" pitchFamily="34" charset="0"/>
                <a:ea typeface="+mn-ea"/>
                <a:cs typeface="Arial" panose="020B0604020202020204" pitchFamily="34" charset="0"/>
              </a:rPr>
              <a:t>‹#›</a:t>
            </a:fld>
            <a:endParaRPr lang="en-US" sz="800" b="0" i="0" kern="1200" dirty="0">
              <a:solidFill>
                <a:schemeClr val="bg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581746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2" r:id="rId3"/>
    <p:sldLayoutId id="2147483660" r:id="rId4"/>
    <p:sldLayoutId id="2147483661" r:id="rId5"/>
    <p:sldLayoutId id="2147483662" r:id="rId6"/>
    <p:sldLayoutId id="2147483664" r:id="rId7"/>
    <p:sldLayoutId id="2147483701" r:id="rId8"/>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xStyles>
    <p:titleStyle>
      <a:lvl1pPr algn="l" defTabSz="914400" rtl="0" eaLnBrk="1" latinLnBrk="0" hangingPunct="1">
        <a:lnSpc>
          <a:spcPct val="90000"/>
        </a:lnSpc>
        <a:spcBef>
          <a:spcPct val="0"/>
        </a:spcBef>
        <a:buNone/>
        <a:defRPr sz="3600" kern="1200">
          <a:solidFill>
            <a:srgbClr val="0068B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68B4"/>
        </a:buClr>
        <a:buSzPct val="100000"/>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05305"/>
            <a:ext cx="12192000" cy="452694"/>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838200" y="841002"/>
            <a:ext cx="10515600" cy="1325563"/>
          </a:xfrm>
          <a:prstGeom prst="rect">
            <a:avLst/>
          </a:prstGeom>
        </p:spPr>
        <p:txBody>
          <a:bodyPr vert="horz" lIns="91440" tIns="45720" rIns="91440" bIns="45720"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838200" y="2301502"/>
            <a:ext cx="10515600" cy="3875461"/>
          </a:xfrm>
          <a:prstGeom prst="rect">
            <a:avLst/>
          </a:prstGeom>
          <a:effectLst/>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7"/>
          <p:cNvSpPr/>
          <p:nvPr userDrawn="1"/>
        </p:nvSpPr>
        <p:spPr>
          <a:xfrm>
            <a:off x="1393728" y="660346"/>
            <a:ext cx="10798272"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Rectangle 8"/>
          <p:cNvSpPr/>
          <p:nvPr userDrawn="1"/>
        </p:nvSpPr>
        <p:spPr>
          <a:xfrm>
            <a:off x="2" y="660346"/>
            <a:ext cx="838194"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p:cNvSpPr/>
          <p:nvPr userDrawn="1"/>
        </p:nvSpPr>
        <p:spPr>
          <a:xfrm>
            <a:off x="935962" y="660346"/>
            <a:ext cx="360000" cy="45719"/>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Picture 10"/>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633530" y="191134"/>
            <a:ext cx="1303354" cy="292455"/>
          </a:xfrm>
          <a:prstGeom prst="rect">
            <a:avLst/>
          </a:prstGeom>
        </p:spPr>
      </p:pic>
      <p:sp>
        <p:nvSpPr>
          <p:cNvPr id="18" name="TextBox 17"/>
          <p:cNvSpPr txBox="1"/>
          <p:nvPr userDrawn="1"/>
        </p:nvSpPr>
        <p:spPr>
          <a:xfrm>
            <a:off x="838195" y="6452008"/>
            <a:ext cx="3931768" cy="364295"/>
          </a:xfrm>
          <a:prstGeom prst="rect">
            <a:avLst/>
          </a:prstGeom>
        </p:spPr>
        <p:txBody>
          <a:bodyPr vert="horz" lIns="91440" tIns="45720" rIns="91440" bIns="45720" rtlCol="0" anchor="ctr"/>
          <a:lstStyle>
            <a:defPPr>
              <a:defRPr lang="en-US"/>
            </a:defPPr>
            <a:lvl1pPr>
              <a:defRPr sz="800">
                <a:solidFill>
                  <a:schemeClr val="bg1"/>
                </a:solidFill>
                <a:latin typeface="Arial" panose="020B0604020202020204" pitchFamily="34" charset="0"/>
                <a:cs typeface="Arial" panose="020B0604020202020204" pitchFamily="34" charset="0"/>
              </a:defRPr>
            </a:lvl1pPr>
          </a:lstStyle>
          <a:p>
            <a:pPr lvl="0"/>
            <a:r>
              <a:rPr lang="en-US" sz="800" b="0" i="0" dirty="0"/>
              <a:t>Utimaco HSM Business Unit  ·  Aachen, Germany ·  © 2017  -  November</a:t>
            </a:r>
            <a:r>
              <a:rPr lang="en-US" sz="800" b="0" i="0" baseline="0" dirty="0"/>
              <a:t> 2017</a:t>
            </a:r>
            <a:endParaRPr lang="en-US" sz="800" b="0" i="0" dirty="0"/>
          </a:p>
        </p:txBody>
      </p:sp>
      <p:sp>
        <p:nvSpPr>
          <p:cNvPr id="19" name="TextBox 18"/>
          <p:cNvSpPr txBox="1"/>
          <p:nvPr userDrawn="1"/>
        </p:nvSpPr>
        <p:spPr>
          <a:xfrm>
            <a:off x="4454013" y="6405305"/>
            <a:ext cx="3283974" cy="452694"/>
          </a:xfrm>
          <a:prstGeom prst="rect">
            <a:avLst/>
          </a:prstGeom>
        </p:spPr>
        <p:txBody>
          <a:bodyPr vert="horz" wrap="square" lIns="91440" tIns="45720" rIns="91440" bIns="45720" rtlCol="0" anchor="ctr">
            <a:normAutofit/>
          </a:bodyPr>
          <a:lstStyle/>
          <a:p>
            <a:pPr algn="ctr"/>
            <a:r>
              <a:rPr lang="en-US" sz="800" b="0" i="0" kern="1200" dirty="0">
                <a:solidFill>
                  <a:schemeClr val="bg1"/>
                </a:solidFill>
                <a:latin typeface="Arial" panose="020B0604020202020204" pitchFamily="34" charset="0"/>
                <a:ea typeface="+mn-ea"/>
                <a:cs typeface="Arial" panose="020B0604020202020204" pitchFamily="34" charset="0"/>
              </a:rPr>
              <a:t>hsm.utimaco.com</a:t>
            </a:r>
          </a:p>
        </p:txBody>
      </p:sp>
      <p:sp>
        <p:nvSpPr>
          <p:cNvPr id="20" name="TextBox 19"/>
          <p:cNvSpPr txBox="1"/>
          <p:nvPr userDrawn="1"/>
        </p:nvSpPr>
        <p:spPr>
          <a:xfrm>
            <a:off x="8610600" y="6452008"/>
            <a:ext cx="2743200" cy="365125"/>
          </a:xfrm>
          <a:prstGeom prst="rect">
            <a:avLst/>
          </a:prstGeom>
        </p:spPr>
        <p:txBody>
          <a:bodyPr vert="horz" wrap="square" lIns="91440" tIns="45720" rIns="91440" bIns="45720" rtlCol="0" anchor="ctr">
            <a:normAutofit/>
          </a:bodyPr>
          <a:lstStyle/>
          <a:p>
            <a:pPr algn="r"/>
            <a:r>
              <a:rPr lang="en-US" sz="800" b="0" i="0" kern="1200" dirty="0">
                <a:solidFill>
                  <a:schemeClr val="bg1"/>
                </a:solidFill>
                <a:latin typeface="Arial" panose="020B0604020202020204" pitchFamily="34" charset="0"/>
                <a:ea typeface="+mn-ea"/>
                <a:cs typeface="Arial" panose="020B0604020202020204" pitchFamily="34" charset="0"/>
              </a:rPr>
              <a:t>Page </a:t>
            </a:r>
            <a:fld id="{5D1E2CFF-DC63-4689-905B-F42B50AEB7DB}" type="slidenum">
              <a:rPr lang="en-US" sz="800" b="0" i="0" kern="1200" smtClean="0">
                <a:solidFill>
                  <a:schemeClr val="bg1"/>
                </a:solidFill>
                <a:latin typeface="Arial" panose="020B0604020202020204" pitchFamily="34" charset="0"/>
                <a:ea typeface="+mn-ea"/>
                <a:cs typeface="Arial" panose="020B0604020202020204" pitchFamily="34" charset="0"/>
              </a:rPr>
              <a:t>‹#›</a:t>
            </a:fld>
            <a:endParaRPr lang="en-US" sz="800" b="0" i="0" kern="1200" dirty="0">
              <a:solidFill>
                <a:schemeClr val="bg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0001494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xStyles>
    <p:titleStyle>
      <a:lvl1pPr algn="l" defTabSz="914400" rtl="0" eaLnBrk="1" latinLnBrk="0" hangingPunct="1">
        <a:lnSpc>
          <a:spcPct val="90000"/>
        </a:lnSpc>
        <a:spcBef>
          <a:spcPct val="0"/>
        </a:spcBef>
        <a:buNone/>
        <a:defRPr sz="3600" kern="1200">
          <a:solidFill>
            <a:srgbClr val="0068B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68B4"/>
        </a:buClr>
        <a:buSzPct val="100000"/>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6438556"/>
            <a:ext cx="12192000" cy="452694"/>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p:cNvSpPr>
            <a:spLocks noGrp="1"/>
          </p:cNvSpPr>
          <p:nvPr>
            <p:ph type="title"/>
          </p:nvPr>
        </p:nvSpPr>
        <p:spPr>
          <a:xfrm>
            <a:off x="838200" y="841002"/>
            <a:ext cx="10515600" cy="1325563"/>
          </a:xfrm>
          <a:prstGeom prst="rect">
            <a:avLst/>
          </a:prstGeom>
        </p:spPr>
        <p:txBody>
          <a:bodyPr vert="horz" lIns="91440" tIns="45720" rIns="91440" bIns="45720" rtlCol="0" anchor="ctr">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838200" y="2301502"/>
            <a:ext cx="10515600" cy="3875461"/>
          </a:xfrm>
          <a:prstGeom prst="rect">
            <a:avLst/>
          </a:prstGeom>
          <a:effectLst/>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Rectangle 7"/>
          <p:cNvSpPr/>
          <p:nvPr userDrawn="1"/>
        </p:nvSpPr>
        <p:spPr>
          <a:xfrm>
            <a:off x="1393728" y="660346"/>
            <a:ext cx="10798272"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Rectangle 8"/>
          <p:cNvSpPr/>
          <p:nvPr userDrawn="1"/>
        </p:nvSpPr>
        <p:spPr>
          <a:xfrm>
            <a:off x="2" y="660346"/>
            <a:ext cx="838194" cy="45719"/>
          </a:xfrm>
          <a:prstGeom prst="rect">
            <a:avLst/>
          </a:prstGeom>
          <a:solidFill>
            <a:srgbClr val="0068B4"/>
          </a:solidFill>
          <a:ln>
            <a:solidFill>
              <a:srgbClr val="0068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Rectangle 9"/>
          <p:cNvSpPr/>
          <p:nvPr userDrawn="1"/>
        </p:nvSpPr>
        <p:spPr>
          <a:xfrm>
            <a:off x="935962" y="660346"/>
            <a:ext cx="360000" cy="45719"/>
          </a:xfrm>
          <a:prstGeom prst="rect">
            <a:avLst/>
          </a:prstGeom>
          <a:solidFill>
            <a:srgbClr val="C5C5C6"/>
          </a:solidFill>
          <a:ln>
            <a:solidFill>
              <a:srgbClr val="C5C5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633530" y="191134"/>
            <a:ext cx="1303354" cy="292455"/>
          </a:xfrm>
          <a:prstGeom prst="rect">
            <a:avLst/>
          </a:prstGeom>
        </p:spPr>
      </p:pic>
      <p:sp>
        <p:nvSpPr>
          <p:cNvPr id="18" name="TextBox 17"/>
          <p:cNvSpPr txBox="1"/>
          <p:nvPr userDrawn="1"/>
        </p:nvSpPr>
        <p:spPr>
          <a:xfrm>
            <a:off x="838195" y="6452008"/>
            <a:ext cx="3949936" cy="364295"/>
          </a:xfrm>
          <a:prstGeom prst="rect">
            <a:avLst/>
          </a:prstGeom>
        </p:spPr>
        <p:txBody>
          <a:bodyPr vert="horz" lIns="91440" tIns="45720" rIns="91440" bIns="45720" rtlCol="0" anchor="ctr"/>
          <a:lstStyle>
            <a:defPPr>
              <a:defRPr lang="en-US"/>
            </a:defPPr>
            <a:lvl1pPr>
              <a:defRPr sz="800">
                <a:solidFill>
                  <a:schemeClr val="bg1"/>
                </a:solidFill>
                <a:latin typeface="Arial" panose="020B0604020202020204" pitchFamily="34" charset="0"/>
                <a:cs typeface="Arial" panose="020B0604020202020204" pitchFamily="34" charset="0"/>
              </a:defRPr>
            </a:lvl1pPr>
          </a:lstStyle>
          <a:p>
            <a:pPr lvl="0"/>
            <a:r>
              <a:rPr lang="en-US" sz="800" b="0" i="0" dirty="0"/>
              <a:t>Utimaco HSM Business Unit  ·  Aachen, Germany ·  © 2018  -  December 2018</a:t>
            </a:r>
          </a:p>
        </p:txBody>
      </p:sp>
      <p:sp>
        <p:nvSpPr>
          <p:cNvPr id="19" name="TextBox 18"/>
          <p:cNvSpPr txBox="1"/>
          <p:nvPr userDrawn="1"/>
        </p:nvSpPr>
        <p:spPr>
          <a:xfrm>
            <a:off x="4454013" y="6405305"/>
            <a:ext cx="3283974" cy="452694"/>
          </a:xfrm>
          <a:prstGeom prst="rect">
            <a:avLst/>
          </a:prstGeom>
        </p:spPr>
        <p:txBody>
          <a:bodyPr vert="horz" wrap="square" lIns="91440" tIns="45720" rIns="91440" bIns="45720" rtlCol="0" anchor="ctr">
            <a:normAutofit/>
          </a:bodyPr>
          <a:lstStyle/>
          <a:p>
            <a:pPr algn="ctr"/>
            <a:r>
              <a:rPr lang="en-US" sz="800" b="0" i="0" kern="1200" dirty="0">
                <a:solidFill>
                  <a:schemeClr val="bg1"/>
                </a:solidFill>
                <a:latin typeface="Arial" panose="020B0604020202020204" pitchFamily="34" charset="0"/>
                <a:ea typeface="+mn-ea"/>
                <a:cs typeface="Arial" panose="020B0604020202020204" pitchFamily="34" charset="0"/>
              </a:rPr>
              <a:t>www.utimaco.com</a:t>
            </a:r>
          </a:p>
        </p:txBody>
      </p:sp>
      <p:sp>
        <p:nvSpPr>
          <p:cNvPr id="20" name="TextBox 19"/>
          <p:cNvSpPr txBox="1"/>
          <p:nvPr userDrawn="1"/>
        </p:nvSpPr>
        <p:spPr>
          <a:xfrm>
            <a:off x="8610600" y="6452008"/>
            <a:ext cx="2743200" cy="365125"/>
          </a:xfrm>
          <a:prstGeom prst="rect">
            <a:avLst/>
          </a:prstGeom>
        </p:spPr>
        <p:txBody>
          <a:bodyPr vert="horz" wrap="square" lIns="91440" tIns="45720" rIns="91440" bIns="45720" rtlCol="0" anchor="ctr">
            <a:normAutofit/>
          </a:bodyPr>
          <a:lstStyle/>
          <a:p>
            <a:pPr algn="r"/>
            <a:r>
              <a:rPr lang="en-US" sz="800" b="0" i="0" kern="1200" dirty="0">
                <a:solidFill>
                  <a:schemeClr val="bg1"/>
                </a:solidFill>
                <a:latin typeface="Arial" panose="020B0604020202020204" pitchFamily="34" charset="0"/>
                <a:ea typeface="+mn-ea"/>
                <a:cs typeface="Arial" panose="020B0604020202020204" pitchFamily="34" charset="0"/>
              </a:rPr>
              <a:t>Page </a:t>
            </a:r>
            <a:fld id="{5D1E2CFF-DC63-4689-905B-F42B50AEB7DB}" type="slidenum">
              <a:rPr lang="en-US" sz="800" b="0" i="0" kern="1200" smtClean="0">
                <a:solidFill>
                  <a:schemeClr val="bg1"/>
                </a:solidFill>
                <a:latin typeface="Arial" panose="020B0604020202020204" pitchFamily="34" charset="0"/>
                <a:ea typeface="+mn-ea"/>
                <a:cs typeface="Arial" panose="020B0604020202020204" pitchFamily="34" charset="0"/>
              </a:rPr>
              <a:t>‹#›</a:t>
            </a:fld>
            <a:endParaRPr lang="en-US" sz="800" b="0" i="0" kern="1200" dirty="0">
              <a:solidFill>
                <a:schemeClr val="bg1"/>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8225654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xStyles>
    <p:titleStyle>
      <a:lvl1pPr algn="l" defTabSz="914400" rtl="0" eaLnBrk="1" latinLnBrk="0" hangingPunct="1">
        <a:lnSpc>
          <a:spcPct val="90000"/>
        </a:lnSpc>
        <a:spcBef>
          <a:spcPct val="0"/>
        </a:spcBef>
        <a:buNone/>
        <a:defRPr sz="3600" kern="1200">
          <a:solidFill>
            <a:srgbClr val="0068B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68B4"/>
        </a:buClr>
        <a:buSzPct val="100000"/>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pohsoon.teo@utimaco.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tags" Target="../tags/tag2.xml"/><Relationship Id="rId7" Type="http://schemas.openxmlformats.org/officeDocument/2006/relationships/image" Target="../media/image7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7.svg"/><Relationship Id="rId9" Type="http://schemas.openxmlformats.org/officeDocument/2006/relationships/image" Target="../media/image11.png"/><Relationship Id="rId14" Type="http://schemas.openxmlformats.org/officeDocument/2006/relationships/image" Target="../media/image16.png"/></Relationships>
</file>

<file path=ppt/slides/_rels/slide3.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jpeg"/><Relationship Id="rId39" Type="http://schemas.openxmlformats.org/officeDocument/2006/relationships/image" Target="../media/image53.wmf"/><Relationship Id="rId3" Type="http://schemas.openxmlformats.org/officeDocument/2006/relationships/image" Target="../media/image17.png"/><Relationship Id="rId21" Type="http://schemas.openxmlformats.org/officeDocument/2006/relationships/image" Target="../media/image35.png"/><Relationship Id="rId34" Type="http://schemas.openxmlformats.org/officeDocument/2006/relationships/image" Target="../media/image48.png"/><Relationship Id="rId42" Type="http://schemas.openxmlformats.org/officeDocument/2006/relationships/image" Target="../media/image56.png"/><Relationship Id="rId47" Type="http://schemas.openxmlformats.org/officeDocument/2006/relationships/image" Target="../media/image61.wmf"/><Relationship Id="rId7" Type="http://schemas.openxmlformats.org/officeDocument/2006/relationships/image" Target="../media/image21.jpe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png"/><Relationship Id="rId38" Type="http://schemas.openxmlformats.org/officeDocument/2006/relationships/image" Target="../media/image52.jpeg"/><Relationship Id="rId46" Type="http://schemas.openxmlformats.org/officeDocument/2006/relationships/image" Target="../media/image60.jpg"/><Relationship Id="rId2" Type="http://schemas.openxmlformats.org/officeDocument/2006/relationships/notesSlide" Target="../notesSlides/notesSlide3.xml"/><Relationship Id="rId16" Type="http://schemas.openxmlformats.org/officeDocument/2006/relationships/image" Target="../media/image30.jpeg"/><Relationship Id="rId20" Type="http://schemas.openxmlformats.org/officeDocument/2006/relationships/image" Target="../media/image34.png"/><Relationship Id="rId29" Type="http://schemas.openxmlformats.org/officeDocument/2006/relationships/image" Target="../media/image43.png"/><Relationship Id="rId41" Type="http://schemas.openxmlformats.org/officeDocument/2006/relationships/image" Target="../media/image55.wmf"/><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25.jpeg"/><Relationship Id="rId24" Type="http://schemas.openxmlformats.org/officeDocument/2006/relationships/image" Target="../media/image38.png"/><Relationship Id="rId32" Type="http://schemas.openxmlformats.org/officeDocument/2006/relationships/image" Target="../media/image46.png"/><Relationship Id="rId37" Type="http://schemas.openxmlformats.org/officeDocument/2006/relationships/image" Target="../media/image51.wmf"/><Relationship Id="rId40" Type="http://schemas.openxmlformats.org/officeDocument/2006/relationships/image" Target="../media/image54.png"/><Relationship Id="rId45" Type="http://schemas.openxmlformats.org/officeDocument/2006/relationships/image" Target="../media/image59.wmf"/><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36" Type="http://schemas.openxmlformats.org/officeDocument/2006/relationships/image" Target="../media/image50.wmf"/><Relationship Id="rId49" Type="http://schemas.openxmlformats.org/officeDocument/2006/relationships/image" Target="../media/image63.jfif"/><Relationship Id="rId10" Type="http://schemas.openxmlformats.org/officeDocument/2006/relationships/image" Target="../media/image24.wmf"/><Relationship Id="rId19" Type="http://schemas.openxmlformats.org/officeDocument/2006/relationships/image" Target="../media/image33.png"/><Relationship Id="rId31" Type="http://schemas.openxmlformats.org/officeDocument/2006/relationships/image" Target="../media/image45.png"/><Relationship Id="rId44" Type="http://schemas.openxmlformats.org/officeDocument/2006/relationships/image" Target="../media/image58.png"/><Relationship Id="rId4" Type="http://schemas.openxmlformats.org/officeDocument/2006/relationships/image" Target="../media/image18.png"/><Relationship Id="rId9" Type="http://schemas.openxmlformats.org/officeDocument/2006/relationships/image" Target="../media/image23.wmf"/><Relationship Id="rId14" Type="http://schemas.openxmlformats.org/officeDocument/2006/relationships/image" Target="../media/image28.wmf"/><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png"/><Relationship Id="rId43" Type="http://schemas.openxmlformats.org/officeDocument/2006/relationships/image" Target="../media/image57.wmf"/><Relationship Id="rId48" Type="http://schemas.openxmlformats.org/officeDocument/2006/relationships/image" Target="../media/image62.png"/><Relationship Id="rId8"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jpeg"/><Relationship Id="rId2" Type="http://schemas.openxmlformats.org/officeDocument/2006/relationships/image" Target="../media/image65.png"/><Relationship Id="rId1" Type="http://schemas.openxmlformats.org/officeDocument/2006/relationships/slideLayout" Target="../slideLayouts/slideLayout7.xml"/><Relationship Id="rId6" Type="http://schemas.openxmlformats.org/officeDocument/2006/relationships/image" Target="../media/image69.jpeg"/><Relationship Id="rId5" Type="http://schemas.openxmlformats.org/officeDocument/2006/relationships/image" Target="../media/image68.png"/><Relationship Id="rId4" Type="http://schemas.openxmlformats.org/officeDocument/2006/relationships/image" Target="../media/image67.png"/></Relationships>
</file>

<file path=ppt/slides/_rels/slide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72.png"/><Relationship Id="rId4" Type="http://schemas.openxmlformats.org/officeDocument/2006/relationships/image" Target="../media/image67.png"/></Relationships>
</file>

<file path=ppt/slides/_rels/slide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6829" y="4080867"/>
            <a:ext cx="10754868" cy="1167875"/>
          </a:xfrm>
        </p:spPr>
        <p:txBody>
          <a:bodyPr/>
          <a:lstStyle/>
          <a:p>
            <a:r>
              <a:rPr lang="en-US" dirty="0"/>
              <a:t>Utimaco Company </a:t>
            </a:r>
            <a:r>
              <a:rPr lang="en-US" dirty="0" smtClean="0"/>
              <a:t>Profile</a:t>
            </a:r>
            <a:r>
              <a:rPr lang="en-US" dirty="0"/>
              <a:t/>
            </a:r>
            <a:br>
              <a:rPr lang="en-US" dirty="0"/>
            </a:br>
            <a:r>
              <a:rPr lang="en-US" dirty="0"/>
              <a:t/>
            </a:r>
            <a:br>
              <a:rPr lang="en-US" dirty="0"/>
            </a:br>
            <a:r>
              <a:rPr lang="en-US" dirty="0"/>
              <a:t/>
            </a:r>
            <a:br>
              <a:rPr lang="en-US" dirty="0"/>
            </a:br>
            <a:r>
              <a:rPr lang="en-US" dirty="0"/>
              <a:t/>
            </a:r>
            <a:br>
              <a:rPr lang="en-US" dirty="0"/>
            </a:br>
            <a:endParaRPr lang="en-US" dirty="0">
              <a:solidFill>
                <a:schemeClr val="tx1"/>
              </a:solidFill>
              <a:latin typeface="Calibri" panose="020F0502020204030204" pitchFamily="34" charset="0"/>
              <a:cs typeface="Times New Roman" panose="02020603050405020304" pitchFamily="18" charset="0"/>
            </a:endParaRPr>
          </a:p>
        </p:txBody>
      </p:sp>
      <p:sp>
        <p:nvSpPr>
          <p:cNvPr id="3" name="Inhaltsplatzhalter 6">
            <a:extLst>
              <a:ext uri="{FF2B5EF4-FFF2-40B4-BE49-F238E27FC236}">
                <a16:creationId xmlns="" xmlns:a16="http://schemas.microsoft.com/office/drawing/2014/main" id="{65435CB8-29AD-42E8-87B7-E3909476B04B}"/>
              </a:ext>
            </a:extLst>
          </p:cNvPr>
          <p:cNvSpPr txBox="1">
            <a:spLocks/>
          </p:cNvSpPr>
          <p:nvPr/>
        </p:nvSpPr>
        <p:spPr>
          <a:xfrm>
            <a:off x="1016829" y="4429774"/>
            <a:ext cx="4639253" cy="427294"/>
          </a:xfrm>
          <a:prstGeom prst="rect">
            <a:avLst/>
          </a:prstGeom>
        </p:spPr>
        <p:txBody>
          <a:bodyPr/>
          <a:lstStyle>
            <a:lvl1pPr marL="228600" indent="-228600" algn="l" defTabSz="914400" rtl="0" eaLnBrk="1" latinLnBrk="0" hangingPunct="1">
              <a:lnSpc>
                <a:spcPct val="90000"/>
              </a:lnSpc>
              <a:spcBef>
                <a:spcPts val="1000"/>
              </a:spcBef>
              <a:buClr>
                <a:srgbClr val="0068B4"/>
              </a:buClr>
              <a:buSzPct val="100000"/>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t>  </a:t>
            </a:r>
            <a:r>
              <a:rPr lang="en-GB" dirty="0" smtClean="0"/>
              <a:t>Teo Poh Soon</a:t>
            </a:r>
            <a:endParaRPr lang="de-DE" dirty="0"/>
          </a:p>
        </p:txBody>
      </p:sp>
      <p:sp>
        <p:nvSpPr>
          <p:cNvPr id="4" name="Inhaltsplatzhalter 7">
            <a:extLst>
              <a:ext uri="{FF2B5EF4-FFF2-40B4-BE49-F238E27FC236}">
                <a16:creationId xmlns="" xmlns:a16="http://schemas.microsoft.com/office/drawing/2014/main" id="{25BDD69D-2781-490F-BE74-F9B269BC5D72}"/>
              </a:ext>
            </a:extLst>
          </p:cNvPr>
          <p:cNvSpPr txBox="1">
            <a:spLocks/>
          </p:cNvSpPr>
          <p:nvPr/>
        </p:nvSpPr>
        <p:spPr>
          <a:xfrm>
            <a:off x="1117333" y="5200604"/>
            <a:ext cx="3820427" cy="391674"/>
          </a:xfrm>
          <a:prstGeom prst="rect">
            <a:avLst/>
          </a:prstGeom>
        </p:spPr>
        <p:txBody>
          <a:bodyPr/>
          <a:lstStyle>
            <a:lvl1pPr marL="228600" indent="-228600" algn="l" defTabSz="914400" rtl="0" eaLnBrk="1" latinLnBrk="0" hangingPunct="1">
              <a:lnSpc>
                <a:spcPct val="90000"/>
              </a:lnSpc>
              <a:spcBef>
                <a:spcPts val="1000"/>
              </a:spcBef>
              <a:buClr>
                <a:srgbClr val="0068B4"/>
              </a:buClr>
              <a:buSzPct val="100000"/>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1600" dirty="0">
                <a:solidFill>
                  <a:srgbClr val="0070C0"/>
                </a:solidFill>
                <a:hlinkClick r:id="rId3"/>
              </a:rPr>
              <a:t>p</a:t>
            </a:r>
            <a:r>
              <a:rPr lang="de-DE" sz="1600" dirty="0" smtClean="0">
                <a:solidFill>
                  <a:srgbClr val="0070C0"/>
                </a:solidFill>
                <a:hlinkClick r:id="rId3"/>
              </a:rPr>
              <a:t>ohsoon.teo@utimaco.com</a:t>
            </a:r>
            <a:r>
              <a:rPr lang="de-DE" sz="1600" dirty="0">
                <a:solidFill>
                  <a:srgbClr val="0070C0"/>
                </a:solidFill>
              </a:rPr>
              <a:t/>
            </a:r>
            <a:br>
              <a:rPr lang="de-DE" sz="1600" dirty="0">
                <a:solidFill>
                  <a:srgbClr val="0070C0"/>
                </a:solidFill>
              </a:rPr>
            </a:br>
            <a:r>
              <a:rPr lang="de-DE" sz="1600" dirty="0">
                <a:solidFill>
                  <a:srgbClr val="0070C0"/>
                </a:solidFill>
              </a:rPr>
              <a:t/>
            </a:r>
            <a:br>
              <a:rPr lang="de-DE" sz="1600" dirty="0">
                <a:solidFill>
                  <a:srgbClr val="0070C0"/>
                </a:solidFill>
              </a:rPr>
            </a:br>
            <a:r>
              <a:rPr lang="de-DE" sz="1600" dirty="0" smtClean="0">
                <a:solidFill>
                  <a:srgbClr val="0070C0"/>
                </a:solidFill>
              </a:rPr>
              <a:t>+65 96693747</a:t>
            </a:r>
            <a:endParaRPr lang="de-DE" sz="1600" dirty="0">
              <a:solidFill>
                <a:srgbClr val="0070C0"/>
              </a:solidFill>
            </a:endParaRPr>
          </a:p>
        </p:txBody>
      </p:sp>
      <p:sp>
        <p:nvSpPr>
          <p:cNvPr id="5" name="Subtitle 2">
            <a:extLst>
              <a:ext uri="{FF2B5EF4-FFF2-40B4-BE49-F238E27FC236}">
                <a16:creationId xmlns="" xmlns:a16="http://schemas.microsoft.com/office/drawing/2014/main" id="{54487B33-1D0B-48A1-9455-4D4318F21594}"/>
              </a:ext>
            </a:extLst>
          </p:cNvPr>
          <p:cNvSpPr>
            <a:spLocks noGrp="1"/>
          </p:cNvSpPr>
          <p:nvPr>
            <p:ph type="subTitle" idx="1"/>
          </p:nvPr>
        </p:nvSpPr>
        <p:spPr>
          <a:xfrm>
            <a:off x="1117333" y="4796862"/>
            <a:ext cx="3458919" cy="247749"/>
          </a:xfrm>
        </p:spPr>
        <p:txBody>
          <a:bodyPr/>
          <a:lstStyle/>
          <a:p>
            <a:r>
              <a:rPr lang="en-US" sz="1600" dirty="0" smtClean="0"/>
              <a:t>Director, APJ</a:t>
            </a:r>
            <a:endParaRPr lang="en-US" sz="1600" dirty="0"/>
          </a:p>
        </p:txBody>
      </p:sp>
    </p:spTree>
    <p:extLst>
      <p:ext uri="{BB962C8B-B14F-4D97-AF65-F5344CB8AC3E}">
        <p14:creationId xmlns:p14="http://schemas.microsoft.com/office/powerpoint/2010/main" val="43168702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3706" y="3012"/>
          <a:ext cx="2115" cy="2115"/>
        </p:xfrm>
        <a:graphic>
          <a:graphicData uri="http://schemas.openxmlformats.org/presentationml/2006/ole">
            <mc:AlternateContent xmlns:mc="http://schemas.openxmlformats.org/markup-compatibility/2006">
              <mc:Choice xmlns:v="urn:schemas-microsoft-com:vml" Requires="v">
                <p:oleObj spid="_x0000_s102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706" y="3012"/>
                        <a:ext cx="2115" cy="2115"/>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GB" dirty="0"/>
              <a:t>Utimaco Enterprise Secure Key Manager Overview</a:t>
            </a:r>
          </a:p>
        </p:txBody>
      </p:sp>
      <p:sp>
        <p:nvSpPr>
          <p:cNvPr id="7" name="Text Placeholder 6"/>
          <p:cNvSpPr>
            <a:spLocks noGrp="1"/>
          </p:cNvSpPr>
          <p:nvPr>
            <p:ph idx="1"/>
          </p:nvPr>
        </p:nvSpPr>
        <p:spPr/>
        <p:txBody>
          <a:bodyPr/>
          <a:lstStyle/>
          <a:p>
            <a:r>
              <a:rPr lang="en-IN" dirty="0"/>
              <a:t>Converged key management for the Enterprise</a:t>
            </a:r>
          </a:p>
          <a:p>
            <a:pPr lvl="1"/>
            <a:r>
              <a:rPr lang="en-US" dirty="0"/>
              <a:t>Reduce the risk and complexity of deploying encryption</a:t>
            </a:r>
          </a:p>
          <a:p>
            <a:pPr lvl="1"/>
            <a:r>
              <a:rPr lang="en-US" dirty="0"/>
              <a:t>Protect and preserve access to business-critical encryption keys </a:t>
            </a:r>
          </a:p>
          <a:p>
            <a:pPr lvl="1"/>
            <a:r>
              <a:rPr lang="en-IN" dirty="0"/>
              <a:t>FIPS 140-2 level 2 validated</a:t>
            </a:r>
          </a:p>
          <a:p>
            <a:pPr lvl="1"/>
            <a:r>
              <a:rPr lang="en-US" dirty="0" smtClean="0"/>
              <a:t>1U Chassis</a:t>
            </a:r>
            <a:endParaRPr lang="en-US" dirty="0"/>
          </a:p>
          <a:p>
            <a:endParaRPr lang="en-US" dirty="0"/>
          </a:p>
          <a:p>
            <a:endParaRPr lang="en-US" dirty="0"/>
          </a:p>
        </p:txBody>
      </p:sp>
      <p:sp>
        <p:nvSpPr>
          <p:cNvPr id="14" name="Slide Number Placeholder 1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600" b="0" i="0" u="none" strike="noStrike" kern="1200" cap="none" spc="0" normalizeH="0" baseline="0" noProof="0" smtClean="0">
                <a:ln>
                  <a:noFill/>
                </a:ln>
                <a:solidFill>
                  <a:srgbClr val="5F7A76"/>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600" b="0" i="0" u="none" strike="noStrike" kern="1200" cap="none" spc="0" normalizeH="0" baseline="0" noProof="0">
              <a:ln>
                <a:noFill/>
              </a:ln>
              <a:solidFill>
                <a:srgbClr val="5F7A76"/>
              </a:solidFill>
              <a:effectLst/>
              <a:uLnTx/>
              <a:uFillTx/>
              <a:latin typeface="Arial" panose="020B0604020202020204"/>
              <a:ea typeface="+mn-ea"/>
              <a:cs typeface="+mn-cs"/>
            </a:endParaRPr>
          </a:p>
        </p:txBody>
      </p:sp>
      <p:pic>
        <p:nvPicPr>
          <p:cNvPr id="3" name="Picture 2"/>
          <p:cNvPicPr>
            <a:picLocks noChangeAspect="1"/>
          </p:cNvPicPr>
          <p:nvPr/>
        </p:nvPicPr>
        <p:blipFill>
          <a:blip r:embed="rId8"/>
          <a:stretch>
            <a:fillRect/>
          </a:stretch>
        </p:blipFill>
        <p:spPr>
          <a:xfrm>
            <a:off x="1339663" y="4491878"/>
            <a:ext cx="9163050" cy="1504950"/>
          </a:xfrm>
          <a:prstGeom prst="rect">
            <a:avLst/>
          </a:prstGeom>
        </p:spPr>
      </p:pic>
    </p:spTree>
    <p:custDataLst>
      <p:tags r:id="rId2"/>
    </p:custDataLst>
    <p:extLst>
      <p:ext uri="{BB962C8B-B14F-4D97-AF65-F5344CB8AC3E}">
        <p14:creationId xmlns:p14="http://schemas.microsoft.com/office/powerpoint/2010/main" val="16434666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3"/>
          </p:nvPr>
        </p:nvSpPr>
        <p:spPr/>
        <p:txBody>
          <a:bodyPr/>
          <a:lstStyle/>
          <a:p>
            <a:r>
              <a:rPr lang="de-DE" dirty="0" err="1"/>
              <a:t>Fully</a:t>
            </a:r>
            <a:r>
              <a:rPr lang="de-DE" dirty="0"/>
              <a:t> </a:t>
            </a:r>
            <a:r>
              <a:rPr lang="de-DE" dirty="0" err="1"/>
              <a:t>functional</a:t>
            </a:r>
            <a:r>
              <a:rPr lang="de-DE" dirty="0"/>
              <a:t> </a:t>
            </a:r>
            <a:r>
              <a:rPr lang="de-DE" dirty="0" err="1"/>
              <a:t>software</a:t>
            </a:r>
            <a:r>
              <a:rPr lang="de-DE" dirty="0"/>
              <a:t> </a:t>
            </a:r>
            <a:r>
              <a:rPr lang="de-DE" dirty="0" err="1"/>
              <a:t>simulator</a:t>
            </a:r>
            <a:r>
              <a:rPr lang="de-DE" dirty="0"/>
              <a:t> </a:t>
            </a:r>
            <a:r>
              <a:rPr lang="de-DE" dirty="0" err="1"/>
              <a:t>for</a:t>
            </a:r>
            <a:r>
              <a:rPr lang="de-DE" dirty="0"/>
              <a:t> Windows </a:t>
            </a:r>
            <a:r>
              <a:rPr lang="de-DE" dirty="0" err="1"/>
              <a:t>and</a:t>
            </a:r>
            <a:r>
              <a:rPr lang="de-DE" dirty="0"/>
              <a:t> Linux</a:t>
            </a:r>
            <a:endParaRPr lang="en-US" dirty="0"/>
          </a:p>
          <a:p>
            <a:pPr lvl="1"/>
            <a:r>
              <a:rPr lang="en-US" dirty="0"/>
              <a:t>HSM administration, user authentication, key management, cryptography, etc.</a:t>
            </a:r>
          </a:p>
          <a:p>
            <a:pPr lvl="1"/>
            <a:endParaRPr lang="en-US" dirty="0"/>
          </a:p>
          <a:p>
            <a:r>
              <a:rPr lang="en-US" dirty="0"/>
              <a:t>Ideal for </a:t>
            </a:r>
          </a:p>
          <a:p>
            <a:pPr lvl="1"/>
            <a:r>
              <a:rPr lang="en-US" dirty="0"/>
              <a:t>Product evaluation</a:t>
            </a:r>
          </a:p>
          <a:p>
            <a:pPr lvl="1"/>
            <a:r>
              <a:rPr lang="de-DE" dirty="0"/>
              <a:t>Dry-run </a:t>
            </a:r>
            <a:r>
              <a:rPr lang="de-DE" dirty="0" err="1"/>
              <a:t>before</a:t>
            </a:r>
            <a:r>
              <a:rPr lang="de-DE" dirty="0"/>
              <a:t> </a:t>
            </a:r>
            <a:r>
              <a:rPr lang="de-DE" dirty="0" err="1"/>
              <a:t>setup</a:t>
            </a:r>
            <a:r>
              <a:rPr lang="de-DE" dirty="0"/>
              <a:t> </a:t>
            </a:r>
            <a:r>
              <a:rPr lang="de-DE" dirty="0" err="1"/>
              <a:t>of</a:t>
            </a:r>
            <a:r>
              <a:rPr lang="de-DE" dirty="0"/>
              <a:t> </a:t>
            </a:r>
            <a:r>
              <a:rPr lang="de-DE" dirty="0" err="1"/>
              <a:t>production</a:t>
            </a:r>
            <a:r>
              <a:rPr lang="de-DE" dirty="0"/>
              <a:t> HSM</a:t>
            </a:r>
            <a:endParaRPr lang="en-US" dirty="0"/>
          </a:p>
          <a:p>
            <a:pPr lvl="1"/>
            <a:r>
              <a:rPr lang="de-DE" dirty="0"/>
              <a:t>Integration </a:t>
            </a:r>
            <a:r>
              <a:rPr lang="de-DE" dirty="0" err="1"/>
              <a:t>testing</a:t>
            </a:r>
            <a:endParaRPr lang="de-DE" dirty="0"/>
          </a:p>
          <a:p>
            <a:pPr lvl="1"/>
            <a:r>
              <a:rPr lang="de-DE" dirty="0"/>
              <a:t>Training</a:t>
            </a:r>
          </a:p>
          <a:p>
            <a:pPr lvl="1"/>
            <a:endParaRPr lang="de-DE" dirty="0"/>
          </a:p>
        </p:txBody>
      </p:sp>
      <p:sp>
        <p:nvSpPr>
          <p:cNvPr id="3" name="Content Placeholder 2"/>
          <p:cNvSpPr>
            <a:spLocks noGrp="1"/>
          </p:cNvSpPr>
          <p:nvPr>
            <p:ph sz="quarter" idx="14"/>
          </p:nvPr>
        </p:nvSpPr>
        <p:spPr/>
        <p:txBody>
          <a:bodyPr/>
          <a:lstStyle/>
          <a:p>
            <a:r>
              <a:rPr lang="en-US" dirty="0"/>
              <a:t>Free HSM simulator</a:t>
            </a:r>
          </a:p>
        </p:txBody>
      </p:sp>
      <p:sp>
        <p:nvSpPr>
          <p:cNvPr id="4" name="Title 3"/>
          <p:cNvSpPr>
            <a:spLocks noGrp="1"/>
          </p:cNvSpPr>
          <p:nvPr>
            <p:ph type="title"/>
          </p:nvPr>
        </p:nvSpPr>
        <p:spPr/>
        <p:txBody>
          <a:bodyPr/>
          <a:lstStyle/>
          <a:p>
            <a:r>
              <a:rPr lang="de-DE" dirty="0"/>
              <a:t>SecurityServer</a:t>
            </a:r>
            <a:endParaRPr lang="en-US" dirty="0"/>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10827639" y="1048555"/>
            <a:ext cx="1052319" cy="110723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4007454"/>
            <a:ext cx="12192000" cy="2389350"/>
          </a:xfrm>
          <a:prstGeom prst="rect">
            <a:avLst/>
          </a:prstGeom>
        </p:spPr>
      </p:pic>
      <p:sp>
        <p:nvSpPr>
          <p:cNvPr id="6" name="Oval 5"/>
          <p:cNvSpPr/>
          <p:nvPr/>
        </p:nvSpPr>
        <p:spPr>
          <a:xfrm rot="1036900">
            <a:off x="9701262" y="3332956"/>
            <a:ext cx="2320634" cy="1497871"/>
          </a:xfrm>
          <a:prstGeom prst="ellipse">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err="1">
                <a:ln>
                  <a:noFill/>
                </a:ln>
                <a:solidFill>
                  <a:sysClr val="windowText" lastClr="000000"/>
                </a:solidFill>
                <a:effectLst/>
                <a:uLnTx/>
                <a:uFillTx/>
                <a:latin typeface="Arial" panose="020B0604020202020204"/>
                <a:ea typeface="+mn-ea"/>
                <a:cs typeface="+mn-cs"/>
              </a:rPr>
              <a:t>Available</a:t>
            </a:r>
            <a:r>
              <a:rPr kumimoji="0" lang="de-DE" sz="1800" b="0" i="0" u="none" strike="noStrike" kern="0" cap="none" spc="0" normalizeH="0" baseline="0" noProof="0" dirty="0">
                <a:ln>
                  <a:noFill/>
                </a:ln>
                <a:solidFill>
                  <a:sysClr val="windowText" lastClr="000000"/>
                </a:solidFill>
                <a:effectLst/>
                <a:uLnTx/>
                <a:uFillTx/>
                <a:latin typeface="Arial" panose="020B0604020202020204"/>
                <a:ea typeface="+mn-ea"/>
                <a:cs typeface="+mn-cs"/>
              </a:rPr>
              <a:t> </a:t>
            </a:r>
            <a:r>
              <a:rPr kumimoji="0" lang="de-DE" sz="1800" b="0" i="0" u="none" strike="noStrike" kern="0" cap="none" spc="0" normalizeH="0" baseline="0" noProof="0" dirty="0" err="1">
                <a:ln>
                  <a:noFill/>
                </a:ln>
                <a:solidFill>
                  <a:sysClr val="windowText" lastClr="000000"/>
                </a:solidFill>
                <a:effectLst/>
                <a:uLnTx/>
                <a:uFillTx/>
                <a:latin typeface="Arial" panose="020B0604020202020204"/>
                <a:ea typeface="+mn-ea"/>
                <a:cs typeface="+mn-cs"/>
              </a:rPr>
              <a:t>for</a:t>
            </a:r>
            <a:r>
              <a:rPr kumimoji="0" lang="de-DE" sz="1800" b="0" i="0" u="none" strike="noStrike" kern="0" cap="none" spc="0" normalizeH="0" baseline="0" noProof="0" dirty="0">
                <a:ln>
                  <a:noFill/>
                </a:ln>
                <a:solidFill>
                  <a:sysClr val="windowText" lastClr="000000"/>
                </a:solidFill>
                <a:effectLst/>
                <a:uLnTx/>
                <a:uFillTx/>
                <a:latin typeface="Arial" panose="020B0604020202020204"/>
                <a:ea typeface="+mn-ea"/>
                <a:cs typeface="+mn-cs"/>
              </a:rPr>
              <a:t> </a:t>
            </a:r>
            <a:r>
              <a:rPr kumimoji="0" lang="de-DE" sz="1800" b="0" i="0" u="none" strike="noStrike" kern="0" cap="none" spc="0" normalizeH="0" baseline="0" noProof="0" dirty="0" err="1">
                <a:ln>
                  <a:noFill/>
                </a:ln>
                <a:solidFill>
                  <a:sysClr val="windowText" lastClr="000000"/>
                </a:solidFill>
                <a:effectLst/>
                <a:uLnTx/>
                <a:uFillTx/>
                <a:latin typeface="Arial" panose="020B0604020202020204"/>
                <a:ea typeface="+mn-ea"/>
                <a:cs typeface="+mn-cs"/>
              </a:rPr>
              <a:t>free</a:t>
            </a:r>
            <a:r>
              <a:rPr kumimoji="0" lang="de-DE" sz="1800" b="0" i="0" u="none" strike="noStrike" kern="0" cap="none" spc="0" normalizeH="0" baseline="0" noProof="0" dirty="0">
                <a:ln>
                  <a:noFill/>
                </a:ln>
                <a:solidFill>
                  <a:sysClr val="windowText" lastClr="000000"/>
                </a:solidFill>
                <a:effectLst/>
                <a:uLnTx/>
                <a:uFillTx/>
                <a:latin typeface="Arial" panose="020B0604020202020204"/>
                <a:ea typeface="+mn-ea"/>
                <a:cs typeface="+mn-cs"/>
              </a:rPr>
              <a:t> </a:t>
            </a:r>
            <a:r>
              <a:rPr kumimoji="0" lang="de-DE" sz="1800" b="0" i="0" u="none" strike="noStrike" kern="0" cap="none" spc="0" normalizeH="0" baseline="0" noProof="0" dirty="0" err="1">
                <a:ln>
                  <a:noFill/>
                </a:ln>
                <a:solidFill>
                  <a:sysClr val="windowText" lastClr="000000"/>
                </a:solidFill>
                <a:effectLst/>
                <a:uLnTx/>
                <a:uFillTx/>
                <a:latin typeface="Arial" panose="020B0604020202020204"/>
                <a:ea typeface="+mn-ea"/>
                <a:cs typeface="+mn-cs"/>
              </a:rPr>
              <a:t>from</a:t>
            </a:r>
            <a:r>
              <a:rPr kumimoji="0" lang="de-DE" sz="1800" b="0" i="0" u="none" strike="noStrike" kern="0" cap="none" spc="0" normalizeH="0" baseline="0" noProof="0" dirty="0">
                <a:ln>
                  <a:noFill/>
                </a:ln>
                <a:solidFill>
                  <a:sysClr val="windowText" lastClr="000000"/>
                </a:solidFill>
                <a:effectLst/>
                <a:uLnTx/>
                <a:uFillTx/>
                <a:latin typeface="Arial" panose="020B0604020202020204"/>
                <a:ea typeface="+mn-ea"/>
                <a:cs typeface="+mn-cs"/>
              </a:rPr>
              <a:t> Utimaco </a:t>
            </a:r>
            <a:r>
              <a:rPr kumimoji="0" lang="de-DE" sz="1800" b="0" i="0" u="none" strike="noStrike" kern="0" cap="none" spc="0" normalizeH="0" baseline="0" noProof="0" dirty="0" err="1">
                <a:ln>
                  <a:noFill/>
                </a:ln>
                <a:solidFill>
                  <a:sysClr val="windowText" lastClr="000000"/>
                </a:solidFill>
                <a:effectLst/>
                <a:uLnTx/>
                <a:uFillTx/>
                <a:latin typeface="Arial" panose="020B0604020202020204"/>
                <a:ea typeface="+mn-ea"/>
                <a:cs typeface="+mn-cs"/>
              </a:rPr>
              <a:t>website</a:t>
            </a:r>
            <a:endParaRPr kumimoji="0" lang="en-US" sz="1800" b="0"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8535675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1201692" y="413384"/>
            <a:ext cx="10057839" cy="1167875"/>
          </a:xfrm>
        </p:spPr>
        <p:txBody>
          <a:bodyPr/>
          <a:lstStyle/>
          <a:p>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endParaRPr lang="de-DE" dirty="0"/>
          </a:p>
        </p:txBody>
      </p:sp>
      <p:sp>
        <p:nvSpPr>
          <p:cNvPr id="7" name="Inhaltsplatzhalter 6"/>
          <p:cNvSpPr>
            <a:spLocks noGrp="1"/>
          </p:cNvSpPr>
          <p:nvPr>
            <p:ph sz="quarter" idx="13"/>
          </p:nvPr>
        </p:nvSpPr>
        <p:spPr>
          <a:xfrm>
            <a:off x="1295962" y="2642048"/>
            <a:ext cx="5170826" cy="427294"/>
          </a:xfrm>
        </p:spPr>
        <p:txBody>
          <a:bodyPr/>
          <a:lstStyle/>
          <a:p>
            <a:r>
              <a:rPr lang="en-GB" dirty="0" smtClean="0"/>
              <a:t>Teo Poh Soon</a:t>
            </a:r>
            <a:endParaRPr lang="de-DE" dirty="0"/>
          </a:p>
        </p:txBody>
      </p:sp>
      <p:sp>
        <p:nvSpPr>
          <p:cNvPr id="8" name="Inhaltsplatzhalter 7"/>
          <p:cNvSpPr>
            <a:spLocks noGrp="1"/>
          </p:cNvSpPr>
          <p:nvPr>
            <p:ph sz="quarter" idx="14"/>
          </p:nvPr>
        </p:nvSpPr>
        <p:spPr>
          <a:xfrm>
            <a:off x="1295961" y="3328844"/>
            <a:ext cx="3083534" cy="367257"/>
          </a:xfrm>
        </p:spPr>
        <p:txBody>
          <a:bodyPr/>
          <a:lstStyle/>
          <a:p>
            <a:r>
              <a:rPr lang="de-DE" dirty="0" smtClean="0"/>
              <a:t>Pohsoon.teo@utimaco.com</a:t>
            </a:r>
            <a:endParaRPr lang="de-DE" dirty="0"/>
          </a:p>
        </p:txBody>
      </p:sp>
      <p:pic>
        <p:nvPicPr>
          <p:cNvPr id="10" name="Picture 9">
            <a:extLst>
              <a:ext uri="{FF2B5EF4-FFF2-40B4-BE49-F238E27FC236}">
                <a16:creationId xmlns="" xmlns:a16="http://schemas.microsoft.com/office/drawing/2014/main" id="{B7E26B19-2D14-4BF2-AC81-23729F9D75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887" y="3210339"/>
            <a:ext cx="6679096" cy="3584050"/>
          </a:xfrm>
          <a:prstGeom prst="rect">
            <a:avLst/>
          </a:prstGeom>
        </p:spPr>
      </p:pic>
      <p:sp>
        <p:nvSpPr>
          <p:cNvPr id="3" name="Subtitle 2">
            <a:extLst>
              <a:ext uri="{FF2B5EF4-FFF2-40B4-BE49-F238E27FC236}">
                <a16:creationId xmlns="" xmlns:a16="http://schemas.microsoft.com/office/drawing/2014/main" id="{35533E3A-5616-427D-A87B-2AEF753B4C46}"/>
              </a:ext>
            </a:extLst>
          </p:cNvPr>
          <p:cNvSpPr>
            <a:spLocks noGrp="1"/>
          </p:cNvSpPr>
          <p:nvPr>
            <p:ph type="subTitle" idx="1"/>
          </p:nvPr>
        </p:nvSpPr>
        <p:spPr>
          <a:xfrm>
            <a:off x="1295961" y="3081094"/>
            <a:ext cx="3458919" cy="247749"/>
          </a:xfrm>
        </p:spPr>
        <p:txBody>
          <a:bodyPr/>
          <a:lstStyle/>
          <a:p>
            <a:r>
              <a:rPr lang="en-US" dirty="0" smtClean="0"/>
              <a:t>Director</a:t>
            </a:r>
            <a:r>
              <a:rPr lang="en-US" dirty="0"/>
              <a:t>, APAC</a:t>
            </a:r>
          </a:p>
        </p:txBody>
      </p:sp>
    </p:spTree>
    <p:extLst>
      <p:ext uri="{BB962C8B-B14F-4D97-AF65-F5344CB8AC3E}">
        <p14:creationId xmlns:p14="http://schemas.microsoft.com/office/powerpoint/2010/main" val="144533061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5"/>
          <p:cNvSpPr txBox="1">
            <a:spLocks/>
          </p:cNvSpPr>
          <p:nvPr/>
        </p:nvSpPr>
        <p:spPr>
          <a:xfrm>
            <a:off x="948264" y="74087"/>
            <a:ext cx="6802860" cy="545346"/>
          </a:xfrm>
          <a:prstGeom prst="rect">
            <a:avLst/>
          </a:prstGeom>
        </p:spPr>
        <p:txBody>
          <a:bodyPr vert="horz" lIns="0" tIns="0" rIns="0" bIns="0" rtlCol="0" anchor="ctr">
            <a:noAutofit/>
          </a:bodyPr>
          <a:lstStyle>
            <a:lvl1pPr algn="l" defTabSz="914400" rtl="0" eaLnBrk="1" latinLnBrk="0" hangingPunct="1">
              <a:lnSpc>
                <a:spcPts val="3100"/>
              </a:lnSpc>
              <a:spcBef>
                <a:spcPct val="0"/>
              </a:spcBef>
              <a:buNone/>
              <a:defRPr sz="2800" b="0" kern="1200">
                <a:solidFill>
                  <a:schemeClr val="tx2"/>
                </a:solidFill>
                <a:latin typeface="Arial" panose="020B0604020202020204" pitchFamily="34" charset="0"/>
                <a:ea typeface="Roboto" panose="02000000000000000000" pitchFamily="2" charset="0"/>
                <a:cs typeface="Arial" panose="020B0604020202020204" pitchFamily="34" charset="0"/>
              </a:defRPr>
            </a:lvl1pPr>
          </a:lstStyle>
          <a:p>
            <a:r>
              <a:rPr lang="en-US" dirty="0">
                <a:solidFill>
                  <a:srgbClr val="0068B4"/>
                </a:solidFill>
              </a:rPr>
              <a:t>Utimaco - Providing Security creates Trust</a:t>
            </a:r>
          </a:p>
        </p:txBody>
      </p:sp>
      <p:grpSp>
        <p:nvGrpSpPr>
          <p:cNvPr id="4" name="Gruppieren 3"/>
          <p:cNvGrpSpPr/>
          <p:nvPr/>
        </p:nvGrpSpPr>
        <p:grpSpPr>
          <a:xfrm>
            <a:off x="1065215" y="5332083"/>
            <a:ext cx="4371500" cy="856529"/>
            <a:chOff x="6617629" y="848054"/>
            <a:chExt cx="4371500" cy="856529"/>
          </a:xfrm>
        </p:grpSpPr>
        <p:sp>
          <p:nvSpPr>
            <p:cNvPr id="21" name="Rectangle 40"/>
            <p:cNvSpPr/>
            <p:nvPr/>
          </p:nvSpPr>
          <p:spPr>
            <a:xfrm>
              <a:off x="7619311" y="848054"/>
              <a:ext cx="3369818" cy="856529"/>
            </a:xfrm>
            <a:prstGeom prst="rect">
              <a:avLst/>
            </a:prstGeom>
          </p:spPr>
          <p:txBody>
            <a:bodyPr wrap="square" lIns="0" tIns="0" rIns="0" bIns="0">
              <a:noAutofit/>
            </a:bodyPr>
            <a:lstStyle/>
            <a:p>
              <a:r>
                <a:rPr lang="en-US" b="1" dirty="0">
                  <a:solidFill>
                    <a:srgbClr val="0068B4"/>
                  </a:solidFill>
                </a:rPr>
                <a:t>1.000+ Utimaco</a:t>
              </a:r>
            </a:p>
            <a:p>
              <a:r>
                <a:rPr lang="en-US" sz="1400" b="1" dirty="0">
                  <a:solidFill>
                    <a:srgbClr val="0068B4"/>
                  </a:solidFill>
                </a:rPr>
                <a:t>HSM </a:t>
              </a:r>
              <a:r>
                <a:rPr lang="en-US" sz="1200" dirty="0"/>
                <a:t>protected infrastructures worldwide</a:t>
              </a:r>
            </a:p>
            <a:p>
              <a:r>
                <a:rPr lang="en-US" sz="1400" b="1" dirty="0">
                  <a:solidFill>
                    <a:srgbClr val="0068B4"/>
                  </a:solidFill>
                </a:rPr>
                <a:t>300+ </a:t>
              </a:r>
              <a:r>
                <a:rPr lang="en-US" sz="1200" dirty="0"/>
                <a:t>Telecom and ISP networks worldwide protected by Utimaco </a:t>
              </a:r>
              <a:endParaRPr lang="en-US" sz="1400" dirty="0">
                <a:solidFill>
                  <a:srgbClr val="0068B4"/>
                </a:solidFill>
              </a:endParaRPr>
            </a:p>
            <a:p>
              <a:endParaRPr lang="en-US" sz="1200" dirty="0">
                <a:solidFill>
                  <a:srgbClr val="0068B4"/>
                </a:solidFill>
              </a:endParaRPr>
            </a:p>
          </p:txBody>
        </p:sp>
        <p:grpSp>
          <p:nvGrpSpPr>
            <p:cNvPr id="30" name="Group 15"/>
            <p:cNvGrpSpPr>
              <a:grpSpLocks noChangeAspect="1"/>
            </p:cNvGrpSpPr>
            <p:nvPr/>
          </p:nvGrpSpPr>
          <p:grpSpPr bwMode="auto">
            <a:xfrm>
              <a:off x="6617629" y="968651"/>
              <a:ext cx="745855" cy="728312"/>
              <a:chOff x="3183" y="1512"/>
              <a:chExt cx="1318" cy="1287"/>
            </a:xfrm>
            <a:solidFill>
              <a:schemeClr val="accent1"/>
            </a:solidFill>
          </p:grpSpPr>
          <p:sp>
            <p:nvSpPr>
              <p:cNvPr id="32" name="Freeform 16"/>
              <p:cNvSpPr>
                <a:spLocks noEditPoints="1"/>
              </p:cNvSpPr>
              <p:nvPr/>
            </p:nvSpPr>
            <p:spPr bwMode="auto">
              <a:xfrm>
                <a:off x="3517" y="2132"/>
                <a:ext cx="226" cy="667"/>
              </a:xfrm>
              <a:custGeom>
                <a:avLst/>
                <a:gdLst>
                  <a:gd name="T0" fmla="*/ 128 w 128"/>
                  <a:gd name="T1" fmla="*/ 42 h 378"/>
                  <a:gd name="T2" fmla="*/ 86 w 128"/>
                  <a:gd name="T3" fmla="*/ 0 h 378"/>
                  <a:gd name="T4" fmla="*/ 42 w 128"/>
                  <a:gd name="T5" fmla="*/ 0 h 378"/>
                  <a:gd name="T6" fmla="*/ 0 w 128"/>
                  <a:gd name="T7" fmla="*/ 42 h 378"/>
                  <a:gd name="T8" fmla="*/ 0 w 128"/>
                  <a:gd name="T9" fmla="*/ 336 h 378"/>
                  <a:gd name="T10" fmla="*/ 42 w 128"/>
                  <a:gd name="T11" fmla="*/ 378 h 378"/>
                  <a:gd name="T12" fmla="*/ 86 w 128"/>
                  <a:gd name="T13" fmla="*/ 378 h 378"/>
                  <a:gd name="T14" fmla="*/ 128 w 128"/>
                  <a:gd name="T15" fmla="*/ 336 h 378"/>
                  <a:gd name="T16" fmla="*/ 128 w 128"/>
                  <a:gd name="T17" fmla="*/ 42 h 378"/>
                  <a:gd name="T18" fmla="*/ 128 w 128"/>
                  <a:gd name="T19" fmla="*/ 42 h 378"/>
                  <a:gd name="T20" fmla="*/ 128 w 128"/>
                  <a:gd name="T21"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378">
                    <a:moveTo>
                      <a:pt x="128" y="42"/>
                    </a:moveTo>
                    <a:cubicBezTo>
                      <a:pt x="128" y="19"/>
                      <a:pt x="109" y="0"/>
                      <a:pt x="86" y="0"/>
                    </a:cubicBezTo>
                    <a:cubicBezTo>
                      <a:pt x="42" y="0"/>
                      <a:pt x="42" y="0"/>
                      <a:pt x="42" y="0"/>
                    </a:cubicBezTo>
                    <a:cubicBezTo>
                      <a:pt x="19" y="0"/>
                      <a:pt x="0" y="19"/>
                      <a:pt x="0" y="42"/>
                    </a:cubicBezTo>
                    <a:cubicBezTo>
                      <a:pt x="0" y="336"/>
                      <a:pt x="0" y="336"/>
                      <a:pt x="0" y="336"/>
                    </a:cubicBezTo>
                    <a:cubicBezTo>
                      <a:pt x="0" y="359"/>
                      <a:pt x="19" y="378"/>
                      <a:pt x="42" y="378"/>
                    </a:cubicBezTo>
                    <a:cubicBezTo>
                      <a:pt x="86" y="378"/>
                      <a:pt x="86" y="378"/>
                      <a:pt x="86" y="378"/>
                    </a:cubicBezTo>
                    <a:cubicBezTo>
                      <a:pt x="109" y="378"/>
                      <a:pt x="128" y="359"/>
                      <a:pt x="128" y="336"/>
                    </a:cubicBezTo>
                    <a:lnTo>
                      <a:pt x="128" y="42"/>
                    </a:lnTo>
                    <a:close/>
                    <a:moveTo>
                      <a:pt x="128" y="42"/>
                    </a:moveTo>
                    <a:cubicBezTo>
                      <a:pt x="128" y="42"/>
                      <a:pt x="128" y="42"/>
                      <a:pt x="128"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33" name="Freeform 17"/>
              <p:cNvSpPr>
                <a:spLocks noEditPoints="1"/>
              </p:cNvSpPr>
              <p:nvPr/>
            </p:nvSpPr>
            <p:spPr bwMode="auto">
              <a:xfrm>
                <a:off x="3183" y="2306"/>
                <a:ext cx="226" cy="493"/>
              </a:xfrm>
              <a:custGeom>
                <a:avLst/>
                <a:gdLst>
                  <a:gd name="T0" fmla="*/ 128 w 128"/>
                  <a:gd name="T1" fmla="*/ 46 h 279"/>
                  <a:gd name="T2" fmla="*/ 83 w 128"/>
                  <a:gd name="T3" fmla="*/ 0 h 279"/>
                  <a:gd name="T4" fmla="*/ 45 w 128"/>
                  <a:gd name="T5" fmla="*/ 0 h 279"/>
                  <a:gd name="T6" fmla="*/ 0 w 128"/>
                  <a:gd name="T7" fmla="*/ 46 h 279"/>
                  <a:gd name="T8" fmla="*/ 0 w 128"/>
                  <a:gd name="T9" fmla="*/ 233 h 279"/>
                  <a:gd name="T10" fmla="*/ 45 w 128"/>
                  <a:gd name="T11" fmla="*/ 279 h 279"/>
                  <a:gd name="T12" fmla="*/ 83 w 128"/>
                  <a:gd name="T13" fmla="*/ 279 h 279"/>
                  <a:gd name="T14" fmla="*/ 128 w 128"/>
                  <a:gd name="T15" fmla="*/ 233 h 279"/>
                  <a:gd name="T16" fmla="*/ 128 w 128"/>
                  <a:gd name="T17" fmla="*/ 46 h 279"/>
                  <a:gd name="T18" fmla="*/ 128 w 128"/>
                  <a:gd name="T19" fmla="*/ 46 h 279"/>
                  <a:gd name="T20" fmla="*/ 128 w 128"/>
                  <a:gd name="T21" fmla="*/ 46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279">
                    <a:moveTo>
                      <a:pt x="128" y="46"/>
                    </a:moveTo>
                    <a:cubicBezTo>
                      <a:pt x="128" y="21"/>
                      <a:pt x="108" y="0"/>
                      <a:pt x="83" y="0"/>
                    </a:cubicBezTo>
                    <a:cubicBezTo>
                      <a:pt x="45" y="0"/>
                      <a:pt x="45" y="0"/>
                      <a:pt x="45" y="0"/>
                    </a:cubicBezTo>
                    <a:cubicBezTo>
                      <a:pt x="20" y="0"/>
                      <a:pt x="0" y="21"/>
                      <a:pt x="0" y="46"/>
                    </a:cubicBezTo>
                    <a:cubicBezTo>
                      <a:pt x="0" y="233"/>
                      <a:pt x="0" y="233"/>
                      <a:pt x="0" y="233"/>
                    </a:cubicBezTo>
                    <a:cubicBezTo>
                      <a:pt x="0" y="258"/>
                      <a:pt x="20" y="279"/>
                      <a:pt x="45" y="279"/>
                    </a:cubicBezTo>
                    <a:cubicBezTo>
                      <a:pt x="83" y="279"/>
                      <a:pt x="83" y="279"/>
                      <a:pt x="83" y="279"/>
                    </a:cubicBezTo>
                    <a:cubicBezTo>
                      <a:pt x="108" y="279"/>
                      <a:pt x="128" y="258"/>
                      <a:pt x="128" y="233"/>
                    </a:cubicBezTo>
                    <a:lnTo>
                      <a:pt x="128" y="46"/>
                    </a:lnTo>
                    <a:close/>
                    <a:moveTo>
                      <a:pt x="128" y="46"/>
                    </a:moveTo>
                    <a:cubicBezTo>
                      <a:pt x="128" y="46"/>
                      <a:pt x="128" y="46"/>
                      <a:pt x="128" y="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34" name="Freeform 18"/>
              <p:cNvSpPr>
                <a:spLocks noEditPoints="1"/>
              </p:cNvSpPr>
              <p:nvPr/>
            </p:nvSpPr>
            <p:spPr bwMode="auto">
              <a:xfrm>
                <a:off x="3844" y="1934"/>
                <a:ext cx="226" cy="865"/>
              </a:xfrm>
              <a:custGeom>
                <a:avLst/>
                <a:gdLst>
                  <a:gd name="T0" fmla="*/ 128 w 128"/>
                  <a:gd name="T1" fmla="*/ 42 h 490"/>
                  <a:gd name="T2" fmla="*/ 86 w 128"/>
                  <a:gd name="T3" fmla="*/ 0 h 490"/>
                  <a:gd name="T4" fmla="*/ 43 w 128"/>
                  <a:gd name="T5" fmla="*/ 0 h 490"/>
                  <a:gd name="T6" fmla="*/ 0 w 128"/>
                  <a:gd name="T7" fmla="*/ 42 h 490"/>
                  <a:gd name="T8" fmla="*/ 0 w 128"/>
                  <a:gd name="T9" fmla="*/ 448 h 490"/>
                  <a:gd name="T10" fmla="*/ 43 w 128"/>
                  <a:gd name="T11" fmla="*/ 490 h 490"/>
                  <a:gd name="T12" fmla="*/ 86 w 128"/>
                  <a:gd name="T13" fmla="*/ 490 h 490"/>
                  <a:gd name="T14" fmla="*/ 128 w 128"/>
                  <a:gd name="T15" fmla="*/ 448 h 490"/>
                  <a:gd name="T16" fmla="*/ 128 w 128"/>
                  <a:gd name="T17" fmla="*/ 42 h 490"/>
                  <a:gd name="T18" fmla="*/ 128 w 128"/>
                  <a:gd name="T19" fmla="*/ 42 h 490"/>
                  <a:gd name="T20" fmla="*/ 128 w 128"/>
                  <a:gd name="T21" fmla="*/ 42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490">
                    <a:moveTo>
                      <a:pt x="128" y="42"/>
                    </a:moveTo>
                    <a:cubicBezTo>
                      <a:pt x="128" y="19"/>
                      <a:pt x="110" y="0"/>
                      <a:pt x="86" y="0"/>
                    </a:cubicBezTo>
                    <a:cubicBezTo>
                      <a:pt x="43" y="0"/>
                      <a:pt x="43" y="0"/>
                      <a:pt x="43" y="0"/>
                    </a:cubicBezTo>
                    <a:cubicBezTo>
                      <a:pt x="19" y="0"/>
                      <a:pt x="0" y="19"/>
                      <a:pt x="0" y="42"/>
                    </a:cubicBezTo>
                    <a:cubicBezTo>
                      <a:pt x="0" y="448"/>
                      <a:pt x="0" y="448"/>
                      <a:pt x="0" y="448"/>
                    </a:cubicBezTo>
                    <a:cubicBezTo>
                      <a:pt x="0" y="471"/>
                      <a:pt x="19" y="490"/>
                      <a:pt x="43" y="490"/>
                    </a:cubicBezTo>
                    <a:cubicBezTo>
                      <a:pt x="86" y="490"/>
                      <a:pt x="86" y="490"/>
                      <a:pt x="86" y="490"/>
                    </a:cubicBezTo>
                    <a:cubicBezTo>
                      <a:pt x="110" y="490"/>
                      <a:pt x="128" y="471"/>
                      <a:pt x="128" y="448"/>
                    </a:cubicBezTo>
                    <a:lnTo>
                      <a:pt x="128" y="42"/>
                    </a:lnTo>
                    <a:close/>
                    <a:moveTo>
                      <a:pt x="128" y="42"/>
                    </a:moveTo>
                    <a:cubicBezTo>
                      <a:pt x="128" y="42"/>
                      <a:pt x="128" y="42"/>
                      <a:pt x="128"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35" name="Freeform 19"/>
              <p:cNvSpPr>
                <a:spLocks noEditPoints="1"/>
              </p:cNvSpPr>
              <p:nvPr/>
            </p:nvSpPr>
            <p:spPr bwMode="auto">
              <a:xfrm>
                <a:off x="4082" y="1512"/>
                <a:ext cx="419" cy="1287"/>
              </a:xfrm>
              <a:custGeom>
                <a:avLst/>
                <a:gdLst>
                  <a:gd name="T0" fmla="*/ 228 w 237"/>
                  <a:gd name="T1" fmla="*/ 120 h 729"/>
                  <a:gd name="T2" fmla="*/ 146 w 237"/>
                  <a:gd name="T3" fmla="*/ 14 h 729"/>
                  <a:gd name="T4" fmla="*/ 118 w 237"/>
                  <a:gd name="T5" fmla="*/ 0 h 729"/>
                  <a:gd name="T6" fmla="*/ 91 w 237"/>
                  <a:gd name="T7" fmla="*/ 14 h 729"/>
                  <a:gd name="T8" fmla="*/ 9 w 237"/>
                  <a:gd name="T9" fmla="*/ 120 h 729"/>
                  <a:gd name="T10" fmla="*/ 4 w 237"/>
                  <a:gd name="T11" fmla="*/ 147 h 729"/>
                  <a:gd name="T12" fmla="*/ 32 w 237"/>
                  <a:gd name="T13" fmla="*/ 161 h 729"/>
                  <a:gd name="T14" fmla="*/ 54 w 237"/>
                  <a:gd name="T15" fmla="*/ 161 h 729"/>
                  <a:gd name="T16" fmla="*/ 54 w 237"/>
                  <a:gd name="T17" fmla="*/ 688 h 729"/>
                  <a:gd name="T18" fmla="*/ 96 w 237"/>
                  <a:gd name="T19" fmla="*/ 729 h 729"/>
                  <a:gd name="T20" fmla="*/ 140 w 237"/>
                  <a:gd name="T21" fmla="*/ 729 h 729"/>
                  <a:gd name="T22" fmla="*/ 182 w 237"/>
                  <a:gd name="T23" fmla="*/ 688 h 729"/>
                  <a:gd name="T24" fmla="*/ 182 w 237"/>
                  <a:gd name="T25" fmla="*/ 161 h 729"/>
                  <a:gd name="T26" fmla="*/ 204 w 237"/>
                  <a:gd name="T27" fmla="*/ 161 h 729"/>
                  <a:gd name="T28" fmla="*/ 233 w 237"/>
                  <a:gd name="T29" fmla="*/ 147 h 729"/>
                  <a:gd name="T30" fmla="*/ 228 w 237"/>
                  <a:gd name="T31" fmla="*/ 120 h 729"/>
                  <a:gd name="T32" fmla="*/ 228 w 237"/>
                  <a:gd name="T33" fmla="*/ 120 h 729"/>
                  <a:gd name="T34" fmla="*/ 228 w 237"/>
                  <a:gd name="T35" fmla="*/ 120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7" h="729">
                    <a:moveTo>
                      <a:pt x="228" y="120"/>
                    </a:moveTo>
                    <a:cubicBezTo>
                      <a:pt x="146" y="14"/>
                      <a:pt x="146" y="14"/>
                      <a:pt x="146" y="14"/>
                    </a:cubicBezTo>
                    <a:cubicBezTo>
                      <a:pt x="139" y="5"/>
                      <a:pt x="129" y="0"/>
                      <a:pt x="118" y="0"/>
                    </a:cubicBezTo>
                    <a:cubicBezTo>
                      <a:pt x="108" y="0"/>
                      <a:pt x="98" y="5"/>
                      <a:pt x="91" y="14"/>
                    </a:cubicBezTo>
                    <a:cubicBezTo>
                      <a:pt x="9" y="120"/>
                      <a:pt x="9" y="120"/>
                      <a:pt x="9" y="120"/>
                    </a:cubicBezTo>
                    <a:cubicBezTo>
                      <a:pt x="2" y="129"/>
                      <a:pt x="0" y="139"/>
                      <a:pt x="4" y="147"/>
                    </a:cubicBezTo>
                    <a:cubicBezTo>
                      <a:pt x="8" y="156"/>
                      <a:pt x="19" y="161"/>
                      <a:pt x="32" y="161"/>
                    </a:cubicBezTo>
                    <a:cubicBezTo>
                      <a:pt x="54" y="161"/>
                      <a:pt x="54" y="161"/>
                      <a:pt x="54" y="161"/>
                    </a:cubicBezTo>
                    <a:cubicBezTo>
                      <a:pt x="54" y="688"/>
                      <a:pt x="54" y="688"/>
                      <a:pt x="54" y="688"/>
                    </a:cubicBezTo>
                    <a:cubicBezTo>
                      <a:pt x="54" y="711"/>
                      <a:pt x="73" y="729"/>
                      <a:pt x="96" y="729"/>
                    </a:cubicBezTo>
                    <a:cubicBezTo>
                      <a:pt x="140" y="729"/>
                      <a:pt x="140" y="729"/>
                      <a:pt x="140" y="729"/>
                    </a:cubicBezTo>
                    <a:cubicBezTo>
                      <a:pt x="164" y="729"/>
                      <a:pt x="182" y="711"/>
                      <a:pt x="182" y="688"/>
                    </a:cubicBezTo>
                    <a:cubicBezTo>
                      <a:pt x="182" y="161"/>
                      <a:pt x="182" y="161"/>
                      <a:pt x="182" y="161"/>
                    </a:cubicBezTo>
                    <a:cubicBezTo>
                      <a:pt x="204" y="161"/>
                      <a:pt x="204" y="161"/>
                      <a:pt x="204" y="161"/>
                    </a:cubicBezTo>
                    <a:cubicBezTo>
                      <a:pt x="218" y="161"/>
                      <a:pt x="228" y="156"/>
                      <a:pt x="233" y="147"/>
                    </a:cubicBezTo>
                    <a:cubicBezTo>
                      <a:pt x="237" y="139"/>
                      <a:pt x="235" y="129"/>
                      <a:pt x="228" y="120"/>
                    </a:cubicBezTo>
                    <a:close/>
                    <a:moveTo>
                      <a:pt x="228" y="120"/>
                    </a:moveTo>
                    <a:cubicBezTo>
                      <a:pt x="228" y="120"/>
                      <a:pt x="228" y="120"/>
                      <a:pt x="228" y="120"/>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grpSp>
      </p:grpSp>
      <p:grpSp>
        <p:nvGrpSpPr>
          <p:cNvPr id="7" name="Gruppieren 6"/>
          <p:cNvGrpSpPr/>
          <p:nvPr/>
        </p:nvGrpSpPr>
        <p:grpSpPr>
          <a:xfrm>
            <a:off x="1008539" y="4243487"/>
            <a:ext cx="4868129" cy="890106"/>
            <a:chOff x="6595117" y="2311598"/>
            <a:chExt cx="4868129" cy="890106"/>
          </a:xfrm>
        </p:grpSpPr>
        <p:sp>
          <p:nvSpPr>
            <p:cNvPr id="15" name="Rectangle 40"/>
            <p:cNvSpPr/>
            <p:nvPr/>
          </p:nvSpPr>
          <p:spPr>
            <a:xfrm>
              <a:off x="7619311" y="2439169"/>
              <a:ext cx="3843935" cy="523220"/>
            </a:xfrm>
            <a:prstGeom prst="rect">
              <a:avLst/>
            </a:prstGeom>
          </p:spPr>
          <p:txBody>
            <a:bodyPr wrap="square" lIns="0" tIns="0" rIns="0" bIns="0">
              <a:noAutofit/>
            </a:bodyPr>
            <a:lstStyle/>
            <a:p>
              <a:r>
                <a:rPr lang="en-US" b="1" dirty="0">
                  <a:solidFill>
                    <a:srgbClr val="0068B4"/>
                  </a:solidFill>
                </a:rPr>
                <a:t>#3 </a:t>
              </a:r>
              <a:r>
                <a:rPr lang="en-US" sz="1600" dirty="0"/>
                <a:t>in Hardware Security Modules</a:t>
              </a:r>
            </a:p>
          </p:txBody>
        </p:sp>
        <p:grpSp>
          <p:nvGrpSpPr>
            <p:cNvPr id="37" name="Group 22"/>
            <p:cNvGrpSpPr>
              <a:grpSpLocks noChangeAspect="1"/>
            </p:cNvGrpSpPr>
            <p:nvPr/>
          </p:nvGrpSpPr>
          <p:grpSpPr bwMode="auto">
            <a:xfrm>
              <a:off x="6595117" y="2311598"/>
              <a:ext cx="790878" cy="890106"/>
              <a:chOff x="2240" y="358"/>
              <a:chExt cx="3204" cy="3606"/>
            </a:xfrm>
          </p:grpSpPr>
          <p:sp>
            <p:nvSpPr>
              <p:cNvPr id="40" name="Freeform 23"/>
              <p:cNvSpPr>
                <a:spLocks noEditPoints="1"/>
              </p:cNvSpPr>
              <p:nvPr/>
            </p:nvSpPr>
            <p:spPr bwMode="auto">
              <a:xfrm>
                <a:off x="2240" y="358"/>
                <a:ext cx="3204" cy="2002"/>
              </a:xfrm>
              <a:custGeom>
                <a:avLst/>
                <a:gdLst>
                  <a:gd name="T0" fmla="*/ 57 w 1820"/>
                  <a:gd name="T1" fmla="*/ 398 h 1137"/>
                  <a:gd name="T2" fmla="*/ 739 w 1820"/>
                  <a:gd name="T3" fmla="*/ 1137 h 1137"/>
                  <a:gd name="T4" fmla="*/ 1081 w 1820"/>
                  <a:gd name="T5" fmla="*/ 1137 h 1137"/>
                  <a:gd name="T6" fmla="*/ 1763 w 1820"/>
                  <a:gd name="T7" fmla="*/ 398 h 1137"/>
                  <a:gd name="T8" fmla="*/ 1479 w 1820"/>
                  <a:gd name="T9" fmla="*/ 0 h 1137"/>
                  <a:gd name="T10" fmla="*/ 341 w 1820"/>
                  <a:gd name="T11" fmla="*/ 0 h 1137"/>
                  <a:gd name="T12" fmla="*/ 57 w 1820"/>
                  <a:gd name="T13" fmla="*/ 398 h 1137"/>
                  <a:gd name="T14" fmla="*/ 910 w 1820"/>
                  <a:gd name="T15" fmla="*/ 341 h 1137"/>
                  <a:gd name="T16" fmla="*/ 1252 w 1820"/>
                  <a:gd name="T17" fmla="*/ 455 h 1137"/>
                  <a:gd name="T18" fmla="*/ 910 w 1820"/>
                  <a:gd name="T19" fmla="*/ 797 h 1137"/>
                  <a:gd name="T20" fmla="*/ 569 w 1820"/>
                  <a:gd name="T21" fmla="*/ 455 h 1137"/>
                  <a:gd name="T22" fmla="*/ 910 w 1820"/>
                  <a:gd name="T23" fmla="*/ 341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0" h="1137">
                    <a:moveTo>
                      <a:pt x="57" y="398"/>
                    </a:moveTo>
                    <a:cubicBezTo>
                      <a:pt x="148" y="581"/>
                      <a:pt x="739" y="1137"/>
                      <a:pt x="739" y="1137"/>
                    </a:cubicBezTo>
                    <a:cubicBezTo>
                      <a:pt x="1081" y="1137"/>
                      <a:pt x="1081" y="1137"/>
                      <a:pt x="1081" y="1137"/>
                    </a:cubicBezTo>
                    <a:cubicBezTo>
                      <a:pt x="1081" y="1137"/>
                      <a:pt x="1650" y="568"/>
                      <a:pt x="1763" y="398"/>
                    </a:cubicBezTo>
                    <a:cubicBezTo>
                      <a:pt x="1820" y="284"/>
                      <a:pt x="1631" y="0"/>
                      <a:pt x="1479" y="0"/>
                    </a:cubicBezTo>
                    <a:cubicBezTo>
                      <a:pt x="341" y="0"/>
                      <a:pt x="341" y="0"/>
                      <a:pt x="341" y="0"/>
                    </a:cubicBezTo>
                    <a:cubicBezTo>
                      <a:pt x="173" y="0"/>
                      <a:pt x="0" y="284"/>
                      <a:pt x="57" y="398"/>
                    </a:cubicBezTo>
                    <a:close/>
                    <a:moveTo>
                      <a:pt x="910" y="341"/>
                    </a:moveTo>
                    <a:cubicBezTo>
                      <a:pt x="1365" y="341"/>
                      <a:pt x="1337" y="370"/>
                      <a:pt x="1252" y="455"/>
                    </a:cubicBezTo>
                    <a:cubicBezTo>
                      <a:pt x="910" y="797"/>
                      <a:pt x="910" y="797"/>
                      <a:pt x="910" y="797"/>
                    </a:cubicBezTo>
                    <a:cubicBezTo>
                      <a:pt x="569" y="455"/>
                      <a:pt x="569" y="455"/>
                      <a:pt x="569" y="455"/>
                    </a:cubicBezTo>
                    <a:cubicBezTo>
                      <a:pt x="455" y="341"/>
                      <a:pt x="512" y="341"/>
                      <a:pt x="910" y="341"/>
                    </a:cubicBezTo>
                    <a:close/>
                  </a:path>
                </a:pathLst>
              </a:custGeom>
              <a:solidFill>
                <a:schemeClr val="accent1"/>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sz="1200"/>
              </a:p>
            </p:txBody>
          </p:sp>
          <p:sp>
            <p:nvSpPr>
              <p:cNvPr id="41" name="Freeform 24"/>
              <p:cNvSpPr>
                <a:spLocks/>
              </p:cNvSpPr>
              <p:nvPr/>
            </p:nvSpPr>
            <p:spPr bwMode="auto">
              <a:xfrm>
                <a:off x="2683" y="358"/>
                <a:ext cx="2354" cy="764"/>
              </a:xfrm>
              <a:custGeom>
                <a:avLst/>
                <a:gdLst>
                  <a:gd name="T0" fmla="*/ 266 w 1337"/>
                  <a:gd name="T1" fmla="*/ 386 h 434"/>
                  <a:gd name="T2" fmla="*/ 658 w 1337"/>
                  <a:gd name="T3" fmla="*/ 341 h 434"/>
                  <a:gd name="T4" fmla="*/ 1020 w 1337"/>
                  <a:gd name="T5" fmla="*/ 434 h 434"/>
                  <a:gd name="T6" fmla="*/ 1113 w 1337"/>
                  <a:gd name="T7" fmla="*/ 0 h 434"/>
                  <a:gd name="T8" fmla="*/ 203 w 1337"/>
                  <a:gd name="T9" fmla="*/ 0 h 434"/>
                  <a:gd name="T10" fmla="*/ 266 w 1337"/>
                  <a:gd name="T11" fmla="*/ 386 h 434"/>
                </a:gdLst>
                <a:ahLst/>
                <a:cxnLst>
                  <a:cxn ang="0">
                    <a:pos x="T0" y="T1"/>
                  </a:cxn>
                  <a:cxn ang="0">
                    <a:pos x="T2" y="T3"/>
                  </a:cxn>
                  <a:cxn ang="0">
                    <a:pos x="T4" y="T5"/>
                  </a:cxn>
                  <a:cxn ang="0">
                    <a:pos x="T6" y="T7"/>
                  </a:cxn>
                  <a:cxn ang="0">
                    <a:pos x="T8" y="T9"/>
                  </a:cxn>
                  <a:cxn ang="0">
                    <a:pos x="T10" y="T11"/>
                  </a:cxn>
                </a:cxnLst>
                <a:rect l="0" t="0" r="r" b="b"/>
                <a:pathLst>
                  <a:path w="1337" h="434">
                    <a:moveTo>
                      <a:pt x="266" y="386"/>
                    </a:moveTo>
                    <a:cubicBezTo>
                      <a:pt x="259" y="341"/>
                      <a:pt x="367" y="341"/>
                      <a:pt x="658" y="341"/>
                    </a:cubicBezTo>
                    <a:cubicBezTo>
                      <a:pt x="1074" y="341"/>
                      <a:pt x="1086" y="365"/>
                      <a:pt x="1020" y="434"/>
                    </a:cubicBezTo>
                    <a:cubicBezTo>
                      <a:pt x="1337" y="109"/>
                      <a:pt x="1240" y="0"/>
                      <a:pt x="1113" y="0"/>
                    </a:cubicBezTo>
                    <a:cubicBezTo>
                      <a:pt x="203" y="0"/>
                      <a:pt x="203" y="0"/>
                      <a:pt x="203" y="0"/>
                    </a:cubicBezTo>
                    <a:cubicBezTo>
                      <a:pt x="0" y="0"/>
                      <a:pt x="145" y="232"/>
                      <a:pt x="266" y="386"/>
                    </a:cubicBezTo>
                    <a:close/>
                  </a:path>
                </a:pathLst>
              </a:custGeom>
              <a:solidFill>
                <a:schemeClr val="accent2"/>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sz="1200"/>
              </a:p>
            </p:txBody>
          </p:sp>
          <p:sp>
            <p:nvSpPr>
              <p:cNvPr id="47" name="Freeform 25"/>
              <p:cNvSpPr>
                <a:spLocks/>
              </p:cNvSpPr>
              <p:nvPr/>
            </p:nvSpPr>
            <p:spPr bwMode="auto">
              <a:xfrm>
                <a:off x="3039" y="2261"/>
                <a:ext cx="1604" cy="1703"/>
              </a:xfrm>
              <a:custGeom>
                <a:avLst/>
                <a:gdLst>
                  <a:gd name="T0" fmla="*/ 911 w 911"/>
                  <a:gd name="T1" fmla="*/ 512 h 967"/>
                  <a:gd name="T2" fmla="*/ 678 w 911"/>
                  <a:gd name="T3" fmla="*/ 115 h 967"/>
                  <a:gd name="T4" fmla="*/ 684 w 911"/>
                  <a:gd name="T5" fmla="*/ 86 h 967"/>
                  <a:gd name="T6" fmla="*/ 598 w 911"/>
                  <a:gd name="T7" fmla="*/ 0 h 967"/>
                  <a:gd name="T8" fmla="*/ 313 w 911"/>
                  <a:gd name="T9" fmla="*/ 0 h 967"/>
                  <a:gd name="T10" fmla="*/ 228 w 911"/>
                  <a:gd name="T11" fmla="*/ 86 h 967"/>
                  <a:gd name="T12" fmla="*/ 233 w 911"/>
                  <a:gd name="T13" fmla="*/ 115 h 967"/>
                  <a:gd name="T14" fmla="*/ 0 w 911"/>
                  <a:gd name="T15" fmla="*/ 512 h 967"/>
                  <a:gd name="T16" fmla="*/ 455 w 911"/>
                  <a:gd name="T17" fmla="*/ 967 h 967"/>
                  <a:gd name="T18" fmla="*/ 911 w 911"/>
                  <a:gd name="T19" fmla="*/ 512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967">
                    <a:moveTo>
                      <a:pt x="911" y="512"/>
                    </a:moveTo>
                    <a:cubicBezTo>
                      <a:pt x="911" y="341"/>
                      <a:pt x="817" y="193"/>
                      <a:pt x="678" y="115"/>
                    </a:cubicBezTo>
                    <a:cubicBezTo>
                      <a:pt x="681" y="106"/>
                      <a:pt x="684" y="96"/>
                      <a:pt x="684" y="86"/>
                    </a:cubicBezTo>
                    <a:cubicBezTo>
                      <a:pt x="684" y="39"/>
                      <a:pt x="645" y="0"/>
                      <a:pt x="598" y="0"/>
                    </a:cubicBezTo>
                    <a:cubicBezTo>
                      <a:pt x="313" y="0"/>
                      <a:pt x="313" y="0"/>
                      <a:pt x="313" y="0"/>
                    </a:cubicBezTo>
                    <a:cubicBezTo>
                      <a:pt x="267" y="0"/>
                      <a:pt x="228" y="38"/>
                      <a:pt x="228" y="86"/>
                    </a:cubicBezTo>
                    <a:cubicBezTo>
                      <a:pt x="228" y="96"/>
                      <a:pt x="230" y="106"/>
                      <a:pt x="233" y="115"/>
                    </a:cubicBezTo>
                    <a:cubicBezTo>
                      <a:pt x="94" y="193"/>
                      <a:pt x="0" y="342"/>
                      <a:pt x="0" y="512"/>
                    </a:cubicBezTo>
                    <a:cubicBezTo>
                      <a:pt x="0" y="763"/>
                      <a:pt x="204" y="967"/>
                      <a:pt x="455" y="967"/>
                    </a:cubicBezTo>
                    <a:cubicBezTo>
                      <a:pt x="708" y="967"/>
                      <a:pt x="911" y="763"/>
                      <a:pt x="911" y="512"/>
                    </a:cubicBezTo>
                    <a:close/>
                  </a:path>
                </a:pathLst>
              </a:custGeom>
              <a:solidFill>
                <a:srgbClr val="CCD6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48" name="Freeform 26"/>
              <p:cNvSpPr>
                <a:spLocks/>
              </p:cNvSpPr>
              <p:nvPr/>
            </p:nvSpPr>
            <p:spPr bwMode="auto">
              <a:xfrm>
                <a:off x="3536" y="2643"/>
                <a:ext cx="633" cy="971"/>
              </a:xfrm>
              <a:custGeom>
                <a:avLst/>
                <a:gdLst>
                  <a:gd name="T0" fmla="*/ 345 w 360"/>
                  <a:gd name="T1" fmla="*/ 448 h 551"/>
                  <a:gd name="T2" fmla="*/ 194 w 360"/>
                  <a:gd name="T3" fmla="*/ 448 h 551"/>
                  <a:gd name="T4" fmla="*/ 322 w 360"/>
                  <a:gd name="T5" fmla="*/ 264 h 551"/>
                  <a:gd name="T6" fmla="*/ 353 w 360"/>
                  <a:gd name="T7" fmla="*/ 161 h 551"/>
                  <a:gd name="T8" fmla="*/ 172 w 360"/>
                  <a:gd name="T9" fmla="*/ 0 h 551"/>
                  <a:gd name="T10" fmla="*/ 13 w 360"/>
                  <a:gd name="T11" fmla="*/ 78 h 551"/>
                  <a:gd name="T12" fmla="*/ 14 w 360"/>
                  <a:gd name="T13" fmla="*/ 99 h 551"/>
                  <a:gd name="T14" fmla="*/ 62 w 360"/>
                  <a:gd name="T15" fmla="*/ 148 h 551"/>
                  <a:gd name="T16" fmla="*/ 85 w 360"/>
                  <a:gd name="T17" fmla="*/ 148 h 551"/>
                  <a:gd name="T18" fmla="*/ 162 w 360"/>
                  <a:gd name="T19" fmla="*/ 108 h 551"/>
                  <a:gd name="T20" fmla="*/ 233 w 360"/>
                  <a:gd name="T21" fmla="*/ 166 h 551"/>
                  <a:gd name="T22" fmla="*/ 212 w 360"/>
                  <a:gd name="T23" fmla="*/ 226 h 551"/>
                  <a:gd name="T24" fmla="*/ 0 w 360"/>
                  <a:gd name="T25" fmla="*/ 519 h 551"/>
                  <a:gd name="T26" fmla="*/ 0 w 360"/>
                  <a:gd name="T27" fmla="*/ 536 h 551"/>
                  <a:gd name="T28" fmla="*/ 15 w 360"/>
                  <a:gd name="T29" fmla="*/ 551 h 551"/>
                  <a:gd name="T30" fmla="*/ 345 w 360"/>
                  <a:gd name="T31" fmla="*/ 551 h 551"/>
                  <a:gd name="T32" fmla="*/ 360 w 360"/>
                  <a:gd name="T33" fmla="*/ 536 h 551"/>
                  <a:gd name="T34" fmla="*/ 360 w 360"/>
                  <a:gd name="T35" fmla="*/ 464 h 551"/>
                  <a:gd name="T36" fmla="*/ 345 w 360"/>
                  <a:gd name="T37" fmla="*/ 44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0" h="551">
                    <a:moveTo>
                      <a:pt x="345" y="448"/>
                    </a:moveTo>
                    <a:cubicBezTo>
                      <a:pt x="194" y="448"/>
                      <a:pt x="194" y="448"/>
                      <a:pt x="194" y="448"/>
                    </a:cubicBezTo>
                    <a:cubicBezTo>
                      <a:pt x="231" y="396"/>
                      <a:pt x="297" y="310"/>
                      <a:pt x="322" y="264"/>
                    </a:cubicBezTo>
                    <a:cubicBezTo>
                      <a:pt x="341" y="227"/>
                      <a:pt x="353" y="203"/>
                      <a:pt x="353" y="161"/>
                    </a:cubicBezTo>
                    <a:cubicBezTo>
                      <a:pt x="353" y="72"/>
                      <a:pt x="286" y="0"/>
                      <a:pt x="172" y="0"/>
                    </a:cubicBezTo>
                    <a:cubicBezTo>
                      <a:pt x="77" y="0"/>
                      <a:pt x="13" y="78"/>
                      <a:pt x="13" y="78"/>
                    </a:cubicBezTo>
                    <a:cubicBezTo>
                      <a:pt x="7" y="85"/>
                      <a:pt x="8" y="94"/>
                      <a:pt x="14" y="99"/>
                    </a:cubicBezTo>
                    <a:cubicBezTo>
                      <a:pt x="62" y="148"/>
                      <a:pt x="62" y="148"/>
                      <a:pt x="62" y="148"/>
                    </a:cubicBezTo>
                    <a:cubicBezTo>
                      <a:pt x="69" y="155"/>
                      <a:pt x="78" y="155"/>
                      <a:pt x="85" y="148"/>
                    </a:cubicBezTo>
                    <a:cubicBezTo>
                      <a:pt x="100" y="132"/>
                      <a:pt x="129" y="108"/>
                      <a:pt x="162" y="108"/>
                    </a:cubicBezTo>
                    <a:cubicBezTo>
                      <a:pt x="207" y="108"/>
                      <a:pt x="233" y="135"/>
                      <a:pt x="233" y="166"/>
                    </a:cubicBezTo>
                    <a:cubicBezTo>
                      <a:pt x="233" y="188"/>
                      <a:pt x="222" y="210"/>
                      <a:pt x="212" y="226"/>
                    </a:cubicBezTo>
                    <a:cubicBezTo>
                      <a:pt x="165" y="298"/>
                      <a:pt x="47" y="458"/>
                      <a:pt x="0" y="519"/>
                    </a:cubicBezTo>
                    <a:cubicBezTo>
                      <a:pt x="0" y="536"/>
                      <a:pt x="0" y="536"/>
                      <a:pt x="0" y="536"/>
                    </a:cubicBezTo>
                    <a:cubicBezTo>
                      <a:pt x="0" y="544"/>
                      <a:pt x="7" y="551"/>
                      <a:pt x="15" y="551"/>
                    </a:cubicBezTo>
                    <a:cubicBezTo>
                      <a:pt x="345" y="551"/>
                      <a:pt x="345" y="551"/>
                      <a:pt x="345" y="551"/>
                    </a:cubicBezTo>
                    <a:cubicBezTo>
                      <a:pt x="353" y="551"/>
                      <a:pt x="360" y="544"/>
                      <a:pt x="360" y="536"/>
                    </a:cubicBezTo>
                    <a:cubicBezTo>
                      <a:pt x="360" y="464"/>
                      <a:pt x="360" y="464"/>
                      <a:pt x="360" y="464"/>
                    </a:cubicBezTo>
                    <a:cubicBezTo>
                      <a:pt x="360" y="455"/>
                      <a:pt x="353" y="448"/>
                      <a:pt x="345" y="448"/>
                    </a:cubicBezTo>
                    <a:close/>
                  </a:path>
                </a:pathLst>
              </a:custGeom>
              <a:solidFill>
                <a:srgbClr val="627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grpSp>
      </p:grpSp>
      <p:grpSp>
        <p:nvGrpSpPr>
          <p:cNvPr id="59" name="Gruppieren 58"/>
          <p:cNvGrpSpPr/>
          <p:nvPr/>
        </p:nvGrpSpPr>
        <p:grpSpPr>
          <a:xfrm>
            <a:off x="8036031" y="3484612"/>
            <a:ext cx="3880449" cy="2651578"/>
            <a:chOff x="8036031" y="3394858"/>
            <a:chExt cx="3880449" cy="2651578"/>
          </a:xfrm>
        </p:grpSpPr>
        <p:grpSp>
          <p:nvGrpSpPr>
            <p:cNvPr id="118" name="Gruppieren 117"/>
            <p:cNvGrpSpPr/>
            <p:nvPr/>
          </p:nvGrpSpPr>
          <p:grpSpPr>
            <a:xfrm>
              <a:off x="8504496" y="4553944"/>
              <a:ext cx="3259534" cy="1492492"/>
              <a:chOff x="7262766" y="4142509"/>
              <a:chExt cx="4437398" cy="2047362"/>
            </a:xfrm>
          </p:grpSpPr>
          <p:sp>
            <p:nvSpPr>
              <p:cNvPr id="91" name="Freeform 57"/>
              <p:cNvSpPr>
                <a:spLocks noEditPoints="1"/>
              </p:cNvSpPr>
              <p:nvPr/>
            </p:nvSpPr>
            <p:spPr bwMode="auto">
              <a:xfrm>
                <a:off x="7262766" y="4142509"/>
                <a:ext cx="4437398" cy="2047362"/>
              </a:xfrm>
              <a:custGeom>
                <a:avLst/>
                <a:gdLst>
                  <a:gd name="T0" fmla="*/ 5636 w 5792"/>
                  <a:gd name="T1" fmla="*/ 2372 h 2670"/>
                  <a:gd name="T2" fmla="*/ 5213 w 5792"/>
                  <a:gd name="T3" fmla="*/ 1672 h 2670"/>
                  <a:gd name="T4" fmla="*/ 5258 w 5792"/>
                  <a:gd name="T5" fmla="*/ 1815 h 2670"/>
                  <a:gd name="T6" fmla="*/ 4751 w 5792"/>
                  <a:gd name="T7" fmla="*/ 1956 h 2670"/>
                  <a:gd name="T8" fmla="*/ 5065 w 5792"/>
                  <a:gd name="T9" fmla="*/ 2225 h 2670"/>
                  <a:gd name="T10" fmla="*/ 5122 w 5792"/>
                  <a:gd name="T11" fmla="*/ 135 h 2670"/>
                  <a:gd name="T12" fmla="*/ 4217 w 5792"/>
                  <a:gd name="T13" fmla="*/ 62 h 2670"/>
                  <a:gd name="T14" fmla="*/ 3530 w 5792"/>
                  <a:gd name="T15" fmla="*/ 82 h 2670"/>
                  <a:gd name="T16" fmla="*/ 3069 w 5792"/>
                  <a:gd name="T17" fmla="*/ 199 h 2670"/>
                  <a:gd name="T18" fmla="*/ 2616 w 5792"/>
                  <a:gd name="T19" fmla="*/ 231 h 2670"/>
                  <a:gd name="T20" fmla="*/ 2397 w 5792"/>
                  <a:gd name="T21" fmla="*/ 621 h 2670"/>
                  <a:gd name="T22" fmla="*/ 2074 w 5792"/>
                  <a:gd name="T23" fmla="*/ 1184 h 2670"/>
                  <a:gd name="T24" fmla="*/ 2672 w 5792"/>
                  <a:gd name="T25" fmla="*/ 1703 h 2670"/>
                  <a:gd name="T26" fmla="*/ 3046 w 5792"/>
                  <a:gd name="T27" fmla="*/ 2116 h 2670"/>
                  <a:gd name="T28" fmla="*/ 3432 w 5792"/>
                  <a:gd name="T29" fmla="*/ 1325 h 2670"/>
                  <a:gd name="T30" fmla="*/ 3222 w 5792"/>
                  <a:gd name="T31" fmla="*/ 1130 h 2670"/>
                  <a:gd name="T32" fmla="*/ 3424 w 5792"/>
                  <a:gd name="T33" fmla="*/ 996 h 2670"/>
                  <a:gd name="T34" fmla="*/ 3976 w 5792"/>
                  <a:gd name="T35" fmla="*/ 1360 h 2670"/>
                  <a:gd name="T36" fmla="*/ 4383 w 5792"/>
                  <a:gd name="T37" fmla="*/ 1243 h 2670"/>
                  <a:gd name="T38" fmla="*/ 4612 w 5792"/>
                  <a:gd name="T39" fmla="*/ 1286 h 2670"/>
                  <a:gd name="T40" fmla="*/ 4656 w 5792"/>
                  <a:gd name="T41" fmla="*/ 715 h 2670"/>
                  <a:gd name="T42" fmla="*/ 4920 w 5792"/>
                  <a:gd name="T43" fmla="*/ 478 h 2670"/>
                  <a:gd name="T44" fmla="*/ 5047 w 5792"/>
                  <a:gd name="T45" fmla="*/ 273 h 2670"/>
                  <a:gd name="T46" fmla="*/ 5227 w 5792"/>
                  <a:gd name="T47" fmla="*/ 218 h 2670"/>
                  <a:gd name="T48" fmla="*/ 3549 w 5792"/>
                  <a:gd name="T49" fmla="*/ 159 h 2670"/>
                  <a:gd name="T50" fmla="*/ 3134 w 5792"/>
                  <a:gd name="T51" fmla="*/ 683 h 2670"/>
                  <a:gd name="T52" fmla="*/ 2982 w 5792"/>
                  <a:gd name="T53" fmla="*/ 889 h 2670"/>
                  <a:gd name="T54" fmla="*/ 2380 w 5792"/>
                  <a:gd name="T55" fmla="*/ 801 h 2670"/>
                  <a:gd name="T56" fmla="*/ 2728 w 5792"/>
                  <a:gd name="T57" fmla="*/ 677 h 2670"/>
                  <a:gd name="T58" fmla="*/ 3102 w 5792"/>
                  <a:gd name="T59" fmla="*/ 812 h 2670"/>
                  <a:gd name="T60" fmla="*/ 2742 w 5792"/>
                  <a:gd name="T61" fmla="*/ 404 h 2670"/>
                  <a:gd name="T62" fmla="*/ 5106 w 5792"/>
                  <a:gd name="T63" fmla="*/ 2419 h 2670"/>
                  <a:gd name="T64" fmla="*/ 5009 w 5792"/>
                  <a:gd name="T65" fmla="*/ 600 h 2670"/>
                  <a:gd name="T66" fmla="*/ 4896 w 5792"/>
                  <a:gd name="T67" fmla="*/ 1509 h 2670"/>
                  <a:gd name="T68" fmla="*/ 4743 w 5792"/>
                  <a:gd name="T69" fmla="*/ 1423 h 2670"/>
                  <a:gd name="T70" fmla="*/ 4779 w 5792"/>
                  <a:gd name="T71" fmla="*/ 1703 h 2670"/>
                  <a:gd name="T72" fmla="*/ 4361 w 5792"/>
                  <a:gd name="T73" fmla="*/ 1421 h 2670"/>
                  <a:gd name="T74" fmla="*/ 3302 w 5792"/>
                  <a:gd name="T75" fmla="*/ 1865 h 2670"/>
                  <a:gd name="T76" fmla="*/ 2572 w 5792"/>
                  <a:gd name="T77" fmla="*/ 719 h 2670"/>
                  <a:gd name="T78" fmla="*/ 2383 w 5792"/>
                  <a:gd name="T79" fmla="*/ 486 h 2670"/>
                  <a:gd name="T80" fmla="*/ 1590 w 5792"/>
                  <a:gd name="T81" fmla="*/ 1517 h 2670"/>
                  <a:gd name="T82" fmla="*/ 1020 w 5792"/>
                  <a:gd name="T83" fmla="*/ 1336 h 2670"/>
                  <a:gd name="T84" fmla="*/ 838 w 5792"/>
                  <a:gd name="T85" fmla="*/ 926 h 2670"/>
                  <a:gd name="T86" fmla="*/ 1430 w 5792"/>
                  <a:gd name="T87" fmla="*/ 599 h 2670"/>
                  <a:gd name="T88" fmla="*/ 1675 w 5792"/>
                  <a:gd name="T89" fmla="*/ 538 h 2670"/>
                  <a:gd name="T90" fmla="*/ 1227 w 5792"/>
                  <a:gd name="T91" fmla="*/ 425 h 2670"/>
                  <a:gd name="T92" fmla="*/ 1459 w 5792"/>
                  <a:gd name="T93" fmla="*/ 127 h 2670"/>
                  <a:gd name="T94" fmla="*/ 1648 w 5792"/>
                  <a:gd name="T95" fmla="*/ 105 h 2670"/>
                  <a:gd name="T96" fmla="*/ 1249 w 5792"/>
                  <a:gd name="T97" fmla="*/ 99 h 2670"/>
                  <a:gd name="T98" fmla="*/ 1018 w 5792"/>
                  <a:gd name="T99" fmla="*/ 52 h 2670"/>
                  <a:gd name="T100" fmla="*/ 384 w 5792"/>
                  <a:gd name="T101" fmla="*/ 106 h 2670"/>
                  <a:gd name="T102" fmla="*/ 362 w 5792"/>
                  <a:gd name="T103" fmla="*/ 311 h 2670"/>
                  <a:gd name="T104" fmla="*/ 394 w 5792"/>
                  <a:gd name="T105" fmla="*/ 993 h 2670"/>
                  <a:gd name="T106" fmla="*/ 782 w 5792"/>
                  <a:gd name="T107" fmla="*/ 1245 h 2670"/>
                  <a:gd name="T108" fmla="*/ 1067 w 5792"/>
                  <a:gd name="T109" fmla="*/ 1806 h 2670"/>
                  <a:gd name="T110" fmla="*/ 1271 w 5792"/>
                  <a:gd name="T111" fmla="*/ 2466 h 2670"/>
                  <a:gd name="T112" fmla="*/ 1445 w 5792"/>
                  <a:gd name="T113" fmla="*/ 2407 h 2670"/>
                  <a:gd name="T114" fmla="*/ 1814 w 5792"/>
                  <a:gd name="T115" fmla="*/ 1913 h 2670"/>
                  <a:gd name="T116" fmla="*/ 1157 w 5792"/>
                  <a:gd name="T117" fmla="*/ 583 h 2670"/>
                  <a:gd name="T118" fmla="*/ 1061 w 5792"/>
                  <a:gd name="T119" fmla="*/ 600 h 2670"/>
                  <a:gd name="T120" fmla="*/ 431 w 5792"/>
                  <a:gd name="T121" fmla="*/ 511 h 2670"/>
                  <a:gd name="T122" fmla="*/ 402 w 5792"/>
                  <a:gd name="T123" fmla="*/ 361 h 2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92" h="2670">
                    <a:moveTo>
                      <a:pt x="5771" y="2314"/>
                    </a:moveTo>
                    <a:cubicBezTo>
                      <a:pt x="5777" y="2314"/>
                      <a:pt x="5786" y="2308"/>
                      <a:pt x="5792" y="2313"/>
                    </a:cubicBezTo>
                    <a:cubicBezTo>
                      <a:pt x="5788" y="2323"/>
                      <a:pt x="5780" y="2332"/>
                      <a:pt x="5771" y="2337"/>
                    </a:cubicBezTo>
                    <a:cubicBezTo>
                      <a:pt x="5766" y="2339"/>
                      <a:pt x="5760" y="2338"/>
                      <a:pt x="5755" y="2340"/>
                    </a:cubicBezTo>
                    <a:cubicBezTo>
                      <a:pt x="5746" y="2344"/>
                      <a:pt x="5741" y="2354"/>
                      <a:pt x="5733" y="2360"/>
                    </a:cubicBezTo>
                    <a:cubicBezTo>
                      <a:pt x="5725" y="2366"/>
                      <a:pt x="5715" y="2372"/>
                      <a:pt x="5707" y="2377"/>
                    </a:cubicBezTo>
                    <a:cubicBezTo>
                      <a:pt x="5699" y="2382"/>
                      <a:pt x="5688" y="2392"/>
                      <a:pt x="5679" y="2385"/>
                    </a:cubicBezTo>
                    <a:cubicBezTo>
                      <a:pt x="5680" y="2372"/>
                      <a:pt x="5694" y="2372"/>
                      <a:pt x="5697" y="2361"/>
                    </a:cubicBezTo>
                    <a:cubicBezTo>
                      <a:pt x="5697" y="2353"/>
                      <a:pt x="5690" y="2353"/>
                      <a:pt x="5690" y="2345"/>
                    </a:cubicBezTo>
                    <a:cubicBezTo>
                      <a:pt x="5706" y="2331"/>
                      <a:pt x="5730" y="2321"/>
                      <a:pt x="5734" y="2293"/>
                    </a:cubicBezTo>
                    <a:cubicBezTo>
                      <a:pt x="5735" y="2281"/>
                      <a:pt x="5725" y="2254"/>
                      <a:pt x="5740" y="2253"/>
                    </a:cubicBezTo>
                    <a:cubicBezTo>
                      <a:pt x="5758" y="2252"/>
                      <a:pt x="5748" y="2271"/>
                      <a:pt x="5749" y="2281"/>
                    </a:cubicBezTo>
                    <a:cubicBezTo>
                      <a:pt x="5750" y="2285"/>
                      <a:pt x="5754" y="2288"/>
                      <a:pt x="5756" y="2293"/>
                    </a:cubicBezTo>
                    <a:cubicBezTo>
                      <a:pt x="5760" y="2303"/>
                      <a:pt x="5759" y="2312"/>
                      <a:pt x="5771" y="2314"/>
                    </a:cubicBezTo>
                    <a:close/>
                    <a:moveTo>
                      <a:pt x="5636" y="2372"/>
                    </a:moveTo>
                    <a:cubicBezTo>
                      <a:pt x="5621" y="2381"/>
                      <a:pt x="5608" y="2393"/>
                      <a:pt x="5593" y="2404"/>
                    </a:cubicBezTo>
                    <a:cubicBezTo>
                      <a:pt x="5567" y="2423"/>
                      <a:pt x="5522" y="2433"/>
                      <a:pt x="5491" y="2449"/>
                    </a:cubicBezTo>
                    <a:cubicBezTo>
                      <a:pt x="5481" y="2454"/>
                      <a:pt x="5463" y="2462"/>
                      <a:pt x="5454" y="2468"/>
                    </a:cubicBezTo>
                    <a:cubicBezTo>
                      <a:pt x="5434" y="2483"/>
                      <a:pt x="5464" y="2494"/>
                      <a:pt x="5481" y="2493"/>
                    </a:cubicBezTo>
                    <a:cubicBezTo>
                      <a:pt x="5496" y="2492"/>
                      <a:pt x="5514" y="2480"/>
                      <a:pt x="5527" y="2472"/>
                    </a:cubicBezTo>
                    <a:cubicBezTo>
                      <a:pt x="5541" y="2463"/>
                      <a:pt x="5552" y="2450"/>
                      <a:pt x="5566" y="2443"/>
                    </a:cubicBezTo>
                    <a:cubicBezTo>
                      <a:pt x="5576" y="2438"/>
                      <a:pt x="5586" y="2439"/>
                      <a:pt x="5594" y="2436"/>
                    </a:cubicBezTo>
                    <a:cubicBezTo>
                      <a:pt x="5601" y="2433"/>
                      <a:pt x="5606" y="2425"/>
                      <a:pt x="5611" y="2421"/>
                    </a:cubicBezTo>
                    <a:cubicBezTo>
                      <a:pt x="5629" y="2410"/>
                      <a:pt x="5656" y="2400"/>
                      <a:pt x="5662" y="2381"/>
                    </a:cubicBezTo>
                    <a:cubicBezTo>
                      <a:pt x="5654" y="2380"/>
                      <a:pt x="5643" y="2368"/>
                      <a:pt x="5636" y="2372"/>
                    </a:cubicBezTo>
                    <a:close/>
                    <a:moveTo>
                      <a:pt x="5418" y="1650"/>
                    </a:moveTo>
                    <a:cubicBezTo>
                      <a:pt x="5419" y="1654"/>
                      <a:pt x="5435" y="1661"/>
                      <a:pt x="5444" y="1662"/>
                    </a:cubicBezTo>
                    <a:cubicBezTo>
                      <a:pt x="5464" y="1664"/>
                      <a:pt x="5474" y="1653"/>
                      <a:pt x="5475" y="1638"/>
                    </a:cubicBezTo>
                    <a:cubicBezTo>
                      <a:pt x="5473" y="1637"/>
                      <a:pt x="5473" y="1634"/>
                      <a:pt x="5469" y="1635"/>
                    </a:cubicBezTo>
                    <a:cubicBezTo>
                      <a:pt x="5459" y="1644"/>
                      <a:pt x="5416" y="1634"/>
                      <a:pt x="5418" y="1650"/>
                    </a:cubicBezTo>
                    <a:close/>
                    <a:moveTo>
                      <a:pt x="5389" y="1678"/>
                    </a:moveTo>
                    <a:cubicBezTo>
                      <a:pt x="5390" y="1670"/>
                      <a:pt x="5401" y="1669"/>
                      <a:pt x="5400" y="1661"/>
                    </a:cubicBezTo>
                    <a:cubicBezTo>
                      <a:pt x="5400" y="1650"/>
                      <a:pt x="5374" y="1646"/>
                      <a:pt x="5369" y="1641"/>
                    </a:cubicBezTo>
                    <a:cubicBezTo>
                      <a:pt x="5364" y="1636"/>
                      <a:pt x="5364" y="1629"/>
                      <a:pt x="5360" y="1624"/>
                    </a:cubicBezTo>
                    <a:cubicBezTo>
                      <a:pt x="5346" y="1607"/>
                      <a:pt x="5314" y="1601"/>
                      <a:pt x="5288" y="1592"/>
                    </a:cubicBezTo>
                    <a:cubicBezTo>
                      <a:pt x="5279" y="1589"/>
                      <a:pt x="5272" y="1584"/>
                      <a:pt x="5264" y="1582"/>
                    </a:cubicBezTo>
                    <a:cubicBezTo>
                      <a:pt x="5255" y="1579"/>
                      <a:pt x="5245" y="1578"/>
                      <a:pt x="5237" y="1575"/>
                    </a:cubicBezTo>
                    <a:cubicBezTo>
                      <a:pt x="5227" y="1571"/>
                      <a:pt x="5220" y="1564"/>
                      <a:pt x="5211" y="1563"/>
                    </a:cubicBezTo>
                    <a:cubicBezTo>
                      <a:pt x="5201" y="1562"/>
                      <a:pt x="5189" y="1567"/>
                      <a:pt x="5182" y="1572"/>
                    </a:cubicBezTo>
                    <a:cubicBezTo>
                      <a:pt x="5171" y="1578"/>
                      <a:pt x="5164" y="1596"/>
                      <a:pt x="5153" y="1595"/>
                    </a:cubicBezTo>
                    <a:cubicBezTo>
                      <a:pt x="5144" y="1594"/>
                      <a:pt x="5134" y="1578"/>
                      <a:pt x="5133" y="1572"/>
                    </a:cubicBezTo>
                    <a:cubicBezTo>
                      <a:pt x="5132" y="1566"/>
                      <a:pt x="5134" y="1561"/>
                      <a:pt x="5133" y="1556"/>
                    </a:cubicBezTo>
                    <a:cubicBezTo>
                      <a:pt x="5130" y="1547"/>
                      <a:pt x="5106" y="1532"/>
                      <a:pt x="5094" y="1534"/>
                    </a:cubicBezTo>
                    <a:cubicBezTo>
                      <a:pt x="5080" y="1536"/>
                      <a:pt x="5075" y="1556"/>
                      <a:pt x="5082" y="1570"/>
                    </a:cubicBezTo>
                    <a:cubicBezTo>
                      <a:pt x="5086" y="1575"/>
                      <a:pt x="5095" y="1577"/>
                      <a:pt x="5097" y="1583"/>
                    </a:cubicBezTo>
                    <a:cubicBezTo>
                      <a:pt x="5099" y="1588"/>
                      <a:pt x="5096" y="1592"/>
                      <a:pt x="5098" y="1595"/>
                    </a:cubicBezTo>
                    <a:cubicBezTo>
                      <a:pt x="5107" y="1615"/>
                      <a:pt x="5143" y="1610"/>
                      <a:pt x="5166" y="1622"/>
                    </a:cubicBezTo>
                    <a:cubicBezTo>
                      <a:pt x="5173" y="1625"/>
                      <a:pt x="5177" y="1632"/>
                      <a:pt x="5183" y="1635"/>
                    </a:cubicBezTo>
                    <a:cubicBezTo>
                      <a:pt x="5188" y="1639"/>
                      <a:pt x="5195" y="1639"/>
                      <a:pt x="5200" y="1643"/>
                    </a:cubicBezTo>
                    <a:cubicBezTo>
                      <a:pt x="5204" y="1647"/>
                      <a:pt x="5214" y="1662"/>
                      <a:pt x="5213" y="1672"/>
                    </a:cubicBezTo>
                    <a:cubicBezTo>
                      <a:pt x="5212" y="1682"/>
                      <a:pt x="5189" y="1686"/>
                      <a:pt x="5193" y="1700"/>
                    </a:cubicBezTo>
                    <a:cubicBezTo>
                      <a:pt x="5197" y="1717"/>
                      <a:pt x="5224" y="1697"/>
                      <a:pt x="5235" y="1699"/>
                    </a:cubicBezTo>
                    <a:cubicBezTo>
                      <a:pt x="5246" y="1700"/>
                      <a:pt x="5252" y="1716"/>
                      <a:pt x="5264" y="1720"/>
                    </a:cubicBezTo>
                    <a:cubicBezTo>
                      <a:pt x="5276" y="1724"/>
                      <a:pt x="5285" y="1720"/>
                      <a:pt x="5300" y="1721"/>
                    </a:cubicBezTo>
                    <a:cubicBezTo>
                      <a:pt x="5316" y="1712"/>
                      <a:pt x="5316" y="1692"/>
                      <a:pt x="5333" y="1690"/>
                    </a:cubicBezTo>
                    <a:cubicBezTo>
                      <a:pt x="5344" y="1689"/>
                      <a:pt x="5359" y="1696"/>
                      <a:pt x="5365" y="1701"/>
                    </a:cubicBezTo>
                    <a:cubicBezTo>
                      <a:pt x="5376" y="1712"/>
                      <a:pt x="5379" y="1730"/>
                      <a:pt x="5389" y="1738"/>
                    </a:cubicBezTo>
                    <a:cubicBezTo>
                      <a:pt x="5398" y="1745"/>
                      <a:pt x="5409" y="1742"/>
                      <a:pt x="5423" y="1745"/>
                    </a:cubicBezTo>
                    <a:cubicBezTo>
                      <a:pt x="5433" y="1747"/>
                      <a:pt x="5441" y="1756"/>
                      <a:pt x="5447" y="1750"/>
                    </a:cubicBezTo>
                    <a:cubicBezTo>
                      <a:pt x="5459" y="1739"/>
                      <a:pt x="5423" y="1713"/>
                      <a:pt x="5415" y="1711"/>
                    </a:cubicBezTo>
                    <a:cubicBezTo>
                      <a:pt x="5411" y="1693"/>
                      <a:pt x="5388" y="1694"/>
                      <a:pt x="5389" y="1678"/>
                    </a:cubicBezTo>
                    <a:close/>
                    <a:moveTo>
                      <a:pt x="5420" y="2033"/>
                    </a:moveTo>
                    <a:cubicBezTo>
                      <a:pt x="5415" y="2025"/>
                      <a:pt x="5408" y="2019"/>
                      <a:pt x="5405" y="2011"/>
                    </a:cubicBezTo>
                    <a:cubicBezTo>
                      <a:pt x="5403" y="2006"/>
                      <a:pt x="5403" y="2000"/>
                      <a:pt x="5401" y="1997"/>
                    </a:cubicBezTo>
                    <a:cubicBezTo>
                      <a:pt x="5398" y="1990"/>
                      <a:pt x="5388" y="1990"/>
                      <a:pt x="5385" y="1982"/>
                    </a:cubicBezTo>
                    <a:cubicBezTo>
                      <a:pt x="5384" y="1980"/>
                      <a:pt x="5385" y="1974"/>
                      <a:pt x="5384" y="1971"/>
                    </a:cubicBezTo>
                    <a:cubicBezTo>
                      <a:pt x="5381" y="1964"/>
                      <a:pt x="5378" y="1960"/>
                      <a:pt x="5378" y="1951"/>
                    </a:cubicBezTo>
                    <a:cubicBezTo>
                      <a:pt x="5367" y="1936"/>
                      <a:pt x="5350" y="1937"/>
                      <a:pt x="5341" y="1923"/>
                    </a:cubicBezTo>
                    <a:cubicBezTo>
                      <a:pt x="5334" y="1912"/>
                      <a:pt x="5339" y="1900"/>
                      <a:pt x="5337" y="1885"/>
                    </a:cubicBezTo>
                    <a:cubicBezTo>
                      <a:pt x="5336" y="1877"/>
                      <a:pt x="5329" y="1869"/>
                      <a:pt x="5328" y="1859"/>
                    </a:cubicBezTo>
                    <a:cubicBezTo>
                      <a:pt x="5327" y="1854"/>
                      <a:pt x="5331" y="1847"/>
                      <a:pt x="5330" y="1842"/>
                    </a:cubicBezTo>
                    <a:cubicBezTo>
                      <a:pt x="5328" y="1826"/>
                      <a:pt x="5312" y="1828"/>
                      <a:pt x="5303" y="1822"/>
                    </a:cubicBezTo>
                    <a:cubicBezTo>
                      <a:pt x="5305" y="1798"/>
                      <a:pt x="5301" y="1771"/>
                      <a:pt x="5288" y="1757"/>
                    </a:cubicBezTo>
                    <a:cubicBezTo>
                      <a:pt x="5274" y="1762"/>
                      <a:pt x="5269" y="1783"/>
                      <a:pt x="5264" y="1798"/>
                    </a:cubicBezTo>
                    <a:cubicBezTo>
                      <a:pt x="5263" y="1804"/>
                      <a:pt x="5259" y="1809"/>
                      <a:pt x="5258" y="1815"/>
                    </a:cubicBezTo>
                    <a:cubicBezTo>
                      <a:pt x="5254" y="1832"/>
                      <a:pt x="5254" y="1851"/>
                      <a:pt x="5246" y="1867"/>
                    </a:cubicBezTo>
                    <a:cubicBezTo>
                      <a:pt x="5240" y="1881"/>
                      <a:pt x="5229" y="1895"/>
                      <a:pt x="5217" y="1895"/>
                    </a:cubicBezTo>
                    <a:cubicBezTo>
                      <a:pt x="5207" y="1895"/>
                      <a:pt x="5202" y="1884"/>
                      <a:pt x="5195" y="1880"/>
                    </a:cubicBezTo>
                    <a:cubicBezTo>
                      <a:pt x="5193" y="1878"/>
                      <a:pt x="5187" y="1877"/>
                      <a:pt x="5184" y="1875"/>
                    </a:cubicBezTo>
                    <a:cubicBezTo>
                      <a:pt x="5180" y="1873"/>
                      <a:pt x="5174" y="1865"/>
                      <a:pt x="5166" y="1861"/>
                    </a:cubicBezTo>
                    <a:cubicBezTo>
                      <a:pt x="5155" y="1854"/>
                      <a:pt x="5137" y="1848"/>
                      <a:pt x="5137" y="1835"/>
                    </a:cubicBezTo>
                    <a:cubicBezTo>
                      <a:pt x="5137" y="1825"/>
                      <a:pt x="5147" y="1823"/>
                      <a:pt x="5156" y="1819"/>
                    </a:cubicBezTo>
                    <a:cubicBezTo>
                      <a:pt x="5159" y="1814"/>
                      <a:pt x="5156" y="1811"/>
                      <a:pt x="5157" y="1806"/>
                    </a:cubicBezTo>
                    <a:cubicBezTo>
                      <a:pt x="5159" y="1799"/>
                      <a:pt x="5168" y="1793"/>
                      <a:pt x="5167" y="1786"/>
                    </a:cubicBezTo>
                    <a:cubicBezTo>
                      <a:pt x="5165" y="1770"/>
                      <a:pt x="5145" y="1782"/>
                      <a:pt x="5135" y="1781"/>
                    </a:cubicBezTo>
                    <a:cubicBezTo>
                      <a:pt x="5115" y="1781"/>
                      <a:pt x="5093" y="1763"/>
                      <a:pt x="5080" y="1762"/>
                    </a:cubicBezTo>
                    <a:cubicBezTo>
                      <a:pt x="5075" y="1767"/>
                      <a:pt x="5082" y="1771"/>
                      <a:pt x="5080" y="1778"/>
                    </a:cubicBezTo>
                    <a:cubicBezTo>
                      <a:pt x="5074" y="1788"/>
                      <a:pt x="5061" y="1781"/>
                      <a:pt x="5050" y="1784"/>
                    </a:cubicBezTo>
                    <a:cubicBezTo>
                      <a:pt x="5036" y="1787"/>
                      <a:pt x="5030" y="1802"/>
                      <a:pt x="5022" y="1814"/>
                    </a:cubicBezTo>
                    <a:cubicBezTo>
                      <a:pt x="5017" y="1821"/>
                      <a:pt x="5011" y="1835"/>
                      <a:pt x="5004" y="1836"/>
                    </a:cubicBezTo>
                    <a:cubicBezTo>
                      <a:pt x="4987" y="1840"/>
                      <a:pt x="4980" y="1818"/>
                      <a:pt x="4964" y="1817"/>
                    </a:cubicBezTo>
                    <a:cubicBezTo>
                      <a:pt x="4960" y="1817"/>
                      <a:pt x="4951" y="1819"/>
                      <a:pt x="4946" y="1822"/>
                    </a:cubicBezTo>
                    <a:cubicBezTo>
                      <a:pt x="4938" y="1826"/>
                      <a:pt x="4927" y="1833"/>
                      <a:pt x="4921" y="1838"/>
                    </a:cubicBezTo>
                    <a:cubicBezTo>
                      <a:pt x="4912" y="1846"/>
                      <a:pt x="4911" y="1857"/>
                      <a:pt x="4903" y="1864"/>
                    </a:cubicBezTo>
                    <a:cubicBezTo>
                      <a:pt x="4899" y="1867"/>
                      <a:pt x="4888" y="1873"/>
                      <a:pt x="4883" y="1874"/>
                    </a:cubicBezTo>
                    <a:cubicBezTo>
                      <a:pt x="4878" y="1875"/>
                      <a:pt x="4873" y="1873"/>
                      <a:pt x="4868" y="1875"/>
                    </a:cubicBezTo>
                    <a:cubicBezTo>
                      <a:pt x="4859" y="1879"/>
                      <a:pt x="4860" y="1890"/>
                      <a:pt x="4855" y="1902"/>
                    </a:cubicBezTo>
                    <a:cubicBezTo>
                      <a:pt x="4851" y="1912"/>
                      <a:pt x="4835" y="1929"/>
                      <a:pt x="4824" y="1935"/>
                    </a:cubicBezTo>
                    <a:cubicBezTo>
                      <a:pt x="4814" y="1941"/>
                      <a:pt x="4802" y="1940"/>
                      <a:pt x="4788" y="1943"/>
                    </a:cubicBezTo>
                    <a:cubicBezTo>
                      <a:pt x="4774" y="1946"/>
                      <a:pt x="4761" y="1955"/>
                      <a:pt x="4751" y="1956"/>
                    </a:cubicBezTo>
                    <a:cubicBezTo>
                      <a:pt x="4748" y="1957"/>
                      <a:pt x="4742" y="1956"/>
                      <a:pt x="4738" y="1956"/>
                    </a:cubicBezTo>
                    <a:cubicBezTo>
                      <a:pt x="4721" y="1959"/>
                      <a:pt x="4707" y="1975"/>
                      <a:pt x="4690" y="1983"/>
                    </a:cubicBezTo>
                    <a:cubicBezTo>
                      <a:pt x="4685" y="1986"/>
                      <a:pt x="4673" y="1990"/>
                      <a:pt x="4670" y="1994"/>
                    </a:cubicBezTo>
                    <a:cubicBezTo>
                      <a:pt x="4668" y="1998"/>
                      <a:pt x="4667" y="2008"/>
                      <a:pt x="4665" y="2013"/>
                    </a:cubicBezTo>
                    <a:cubicBezTo>
                      <a:pt x="4661" y="2025"/>
                      <a:pt x="4654" y="2029"/>
                      <a:pt x="4654" y="2038"/>
                    </a:cubicBezTo>
                    <a:cubicBezTo>
                      <a:pt x="4654" y="2050"/>
                      <a:pt x="4662" y="2052"/>
                      <a:pt x="4659" y="2062"/>
                    </a:cubicBezTo>
                    <a:cubicBezTo>
                      <a:pt x="4657" y="2069"/>
                      <a:pt x="4648" y="2070"/>
                      <a:pt x="4646" y="2077"/>
                    </a:cubicBezTo>
                    <a:cubicBezTo>
                      <a:pt x="4646" y="2081"/>
                      <a:pt x="4649" y="2087"/>
                      <a:pt x="4650" y="2094"/>
                    </a:cubicBezTo>
                    <a:cubicBezTo>
                      <a:pt x="4650" y="2098"/>
                      <a:pt x="4649" y="2103"/>
                      <a:pt x="4650" y="2107"/>
                    </a:cubicBezTo>
                    <a:cubicBezTo>
                      <a:pt x="4651" y="2117"/>
                      <a:pt x="4658" y="2126"/>
                      <a:pt x="4658" y="2136"/>
                    </a:cubicBezTo>
                    <a:cubicBezTo>
                      <a:pt x="4658" y="2143"/>
                      <a:pt x="4654" y="2151"/>
                      <a:pt x="4653" y="2158"/>
                    </a:cubicBezTo>
                    <a:cubicBezTo>
                      <a:pt x="4653" y="2168"/>
                      <a:pt x="4658" y="2177"/>
                      <a:pt x="4658" y="2184"/>
                    </a:cubicBezTo>
                    <a:cubicBezTo>
                      <a:pt x="4657" y="2193"/>
                      <a:pt x="4650" y="2209"/>
                      <a:pt x="4645" y="2215"/>
                    </a:cubicBezTo>
                    <a:cubicBezTo>
                      <a:pt x="4641" y="2221"/>
                      <a:pt x="4629" y="2227"/>
                      <a:pt x="4629" y="2235"/>
                    </a:cubicBezTo>
                    <a:cubicBezTo>
                      <a:pt x="4629" y="2246"/>
                      <a:pt x="4641" y="2249"/>
                      <a:pt x="4649" y="2255"/>
                    </a:cubicBezTo>
                    <a:cubicBezTo>
                      <a:pt x="4685" y="2261"/>
                      <a:pt x="4699" y="2241"/>
                      <a:pt x="4722" y="2234"/>
                    </a:cubicBezTo>
                    <a:cubicBezTo>
                      <a:pt x="4746" y="2227"/>
                      <a:pt x="4769" y="2234"/>
                      <a:pt x="4793" y="2232"/>
                    </a:cubicBezTo>
                    <a:cubicBezTo>
                      <a:pt x="4807" y="2220"/>
                      <a:pt x="4831" y="2202"/>
                      <a:pt x="4854" y="2198"/>
                    </a:cubicBezTo>
                    <a:cubicBezTo>
                      <a:pt x="4860" y="2197"/>
                      <a:pt x="4868" y="2199"/>
                      <a:pt x="4875" y="2198"/>
                    </a:cubicBezTo>
                    <a:cubicBezTo>
                      <a:pt x="4902" y="2196"/>
                      <a:pt x="4924" y="2177"/>
                      <a:pt x="4959" y="2183"/>
                    </a:cubicBezTo>
                    <a:cubicBezTo>
                      <a:pt x="4967" y="2184"/>
                      <a:pt x="4990" y="2193"/>
                      <a:pt x="4997" y="2197"/>
                    </a:cubicBezTo>
                    <a:cubicBezTo>
                      <a:pt x="5002" y="2201"/>
                      <a:pt x="5015" y="2224"/>
                      <a:pt x="5016" y="2230"/>
                    </a:cubicBezTo>
                    <a:cubicBezTo>
                      <a:pt x="5017" y="2237"/>
                      <a:pt x="5010" y="2246"/>
                      <a:pt x="5019" y="2249"/>
                    </a:cubicBezTo>
                    <a:cubicBezTo>
                      <a:pt x="5028" y="2250"/>
                      <a:pt x="5034" y="2239"/>
                      <a:pt x="5042" y="2234"/>
                    </a:cubicBezTo>
                    <a:cubicBezTo>
                      <a:pt x="5050" y="2230"/>
                      <a:pt x="5058" y="2228"/>
                      <a:pt x="5065" y="2225"/>
                    </a:cubicBezTo>
                    <a:cubicBezTo>
                      <a:pt x="5062" y="2229"/>
                      <a:pt x="5060" y="2234"/>
                      <a:pt x="5060" y="2241"/>
                    </a:cubicBezTo>
                    <a:cubicBezTo>
                      <a:pt x="5068" y="2246"/>
                      <a:pt x="5068" y="2255"/>
                      <a:pt x="5066" y="2263"/>
                    </a:cubicBezTo>
                    <a:cubicBezTo>
                      <a:pt x="5069" y="2270"/>
                      <a:pt x="5078" y="2272"/>
                      <a:pt x="5078" y="2281"/>
                    </a:cubicBezTo>
                    <a:cubicBezTo>
                      <a:pt x="5078" y="2290"/>
                      <a:pt x="5071" y="2294"/>
                      <a:pt x="5072" y="2303"/>
                    </a:cubicBezTo>
                    <a:cubicBezTo>
                      <a:pt x="5075" y="2321"/>
                      <a:pt x="5092" y="2321"/>
                      <a:pt x="5108" y="2326"/>
                    </a:cubicBezTo>
                    <a:cubicBezTo>
                      <a:pt x="5116" y="2328"/>
                      <a:pt x="5118" y="2331"/>
                      <a:pt x="5124" y="2331"/>
                    </a:cubicBezTo>
                    <a:cubicBezTo>
                      <a:pt x="5137" y="2331"/>
                      <a:pt x="5144" y="2323"/>
                      <a:pt x="5153" y="2324"/>
                    </a:cubicBezTo>
                    <a:cubicBezTo>
                      <a:pt x="5161" y="2326"/>
                      <a:pt x="5169" y="2336"/>
                      <a:pt x="5177" y="2336"/>
                    </a:cubicBezTo>
                    <a:cubicBezTo>
                      <a:pt x="5185" y="2335"/>
                      <a:pt x="5196" y="2323"/>
                      <a:pt x="5213" y="2317"/>
                    </a:cubicBezTo>
                    <a:cubicBezTo>
                      <a:pt x="5223" y="2312"/>
                      <a:pt x="5234" y="2313"/>
                      <a:pt x="5245" y="2312"/>
                    </a:cubicBezTo>
                    <a:cubicBezTo>
                      <a:pt x="5265" y="2310"/>
                      <a:pt x="5271" y="2289"/>
                      <a:pt x="5282" y="2275"/>
                    </a:cubicBezTo>
                    <a:cubicBezTo>
                      <a:pt x="5290" y="2266"/>
                      <a:pt x="5302" y="2258"/>
                      <a:pt x="5312" y="2248"/>
                    </a:cubicBezTo>
                    <a:cubicBezTo>
                      <a:pt x="5322" y="2237"/>
                      <a:pt x="5330" y="2226"/>
                      <a:pt x="5341" y="2217"/>
                    </a:cubicBezTo>
                    <a:cubicBezTo>
                      <a:pt x="5348" y="2212"/>
                      <a:pt x="5356" y="2209"/>
                      <a:pt x="5363" y="2203"/>
                    </a:cubicBezTo>
                    <a:cubicBezTo>
                      <a:pt x="5375" y="2193"/>
                      <a:pt x="5387" y="2178"/>
                      <a:pt x="5395" y="2164"/>
                    </a:cubicBezTo>
                    <a:cubicBezTo>
                      <a:pt x="5405" y="2147"/>
                      <a:pt x="5417" y="2134"/>
                      <a:pt x="5423" y="2120"/>
                    </a:cubicBezTo>
                    <a:cubicBezTo>
                      <a:pt x="5427" y="2109"/>
                      <a:pt x="5425" y="2095"/>
                      <a:pt x="5427" y="2084"/>
                    </a:cubicBezTo>
                    <a:cubicBezTo>
                      <a:pt x="5429" y="2074"/>
                      <a:pt x="5437" y="2067"/>
                      <a:pt x="5435" y="2056"/>
                    </a:cubicBezTo>
                    <a:cubicBezTo>
                      <a:pt x="5434" y="2050"/>
                      <a:pt x="5425" y="2041"/>
                      <a:pt x="5420" y="2033"/>
                    </a:cubicBezTo>
                    <a:close/>
                    <a:moveTo>
                      <a:pt x="5268" y="176"/>
                    </a:moveTo>
                    <a:cubicBezTo>
                      <a:pt x="5257" y="175"/>
                      <a:pt x="5244" y="167"/>
                      <a:pt x="5231" y="163"/>
                    </a:cubicBezTo>
                    <a:cubicBezTo>
                      <a:pt x="5209" y="157"/>
                      <a:pt x="5181" y="154"/>
                      <a:pt x="5161" y="148"/>
                    </a:cubicBezTo>
                    <a:cubicBezTo>
                      <a:pt x="5157" y="147"/>
                      <a:pt x="5153" y="143"/>
                      <a:pt x="5149" y="142"/>
                    </a:cubicBezTo>
                    <a:cubicBezTo>
                      <a:pt x="5145" y="141"/>
                      <a:pt x="5141" y="142"/>
                      <a:pt x="5136" y="141"/>
                    </a:cubicBezTo>
                    <a:cubicBezTo>
                      <a:pt x="5131" y="140"/>
                      <a:pt x="5126" y="136"/>
                      <a:pt x="5122" y="135"/>
                    </a:cubicBezTo>
                    <a:cubicBezTo>
                      <a:pt x="5111" y="134"/>
                      <a:pt x="5102" y="138"/>
                      <a:pt x="5091" y="139"/>
                    </a:cubicBezTo>
                    <a:cubicBezTo>
                      <a:pt x="5076" y="140"/>
                      <a:pt x="5060" y="139"/>
                      <a:pt x="5048" y="137"/>
                    </a:cubicBezTo>
                    <a:cubicBezTo>
                      <a:pt x="5033" y="133"/>
                      <a:pt x="5021" y="122"/>
                      <a:pt x="5009" y="121"/>
                    </a:cubicBezTo>
                    <a:cubicBezTo>
                      <a:pt x="5004" y="121"/>
                      <a:pt x="4997" y="123"/>
                      <a:pt x="4992" y="123"/>
                    </a:cubicBezTo>
                    <a:cubicBezTo>
                      <a:pt x="4982" y="123"/>
                      <a:pt x="4974" y="118"/>
                      <a:pt x="4968" y="123"/>
                    </a:cubicBezTo>
                    <a:cubicBezTo>
                      <a:pt x="4961" y="128"/>
                      <a:pt x="4973" y="134"/>
                      <a:pt x="4967" y="139"/>
                    </a:cubicBezTo>
                    <a:cubicBezTo>
                      <a:pt x="4950" y="142"/>
                      <a:pt x="4933" y="124"/>
                      <a:pt x="4922" y="124"/>
                    </a:cubicBezTo>
                    <a:cubicBezTo>
                      <a:pt x="4913" y="124"/>
                      <a:pt x="4909" y="130"/>
                      <a:pt x="4902" y="131"/>
                    </a:cubicBezTo>
                    <a:cubicBezTo>
                      <a:pt x="4898" y="131"/>
                      <a:pt x="4893" y="129"/>
                      <a:pt x="4888" y="129"/>
                    </a:cubicBezTo>
                    <a:cubicBezTo>
                      <a:pt x="4867" y="127"/>
                      <a:pt x="4835" y="131"/>
                      <a:pt x="4815" y="129"/>
                    </a:cubicBezTo>
                    <a:cubicBezTo>
                      <a:pt x="4800" y="127"/>
                      <a:pt x="4795" y="116"/>
                      <a:pt x="4781" y="111"/>
                    </a:cubicBezTo>
                    <a:cubicBezTo>
                      <a:pt x="4756" y="101"/>
                      <a:pt x="4723" y="102"/>
                      <a:pt x="4698" y="104"/>
                    </a:cubicBezTo>
                    <a:cubicBezTo>
                      <a:pt x="4686" y="105"/>
                      <a:pt x="4675" y="108"/>
                      <a:pt x="4663" y="106"/>
                    </a:cubicBezTo>
                    <a:cubicBezTo>
                      <a:pt x="4658" y="106"/>
                      <a:pt x="4652" y="101"/>
                      <a:pt x="4644" y="100"/>
                    </a:cubicBezTo>
                    <a:cubicBezTo>
                      <a:pt x="4633" y="98"/>
                      <a:pt x="4620" y="99"/>
                      <a:pt x="4613" y="96"/>
                    </a:cubicBezTo>
                    <a:cubicBezTo>
                      <a:pt x="4602" y="93"/>
                      <a:pt x="4594" y="82"/>
                      <a:pt x="4583" y="80"/>
                    </a:cubicBezTo>
                    <a:cubicBezTo>
                      <a:pt x="4573" y="78"/>
                      <a:pt x="4562" y="81"/>
                      <a:pt x="4551" y="81"/>
                    </a:cubicBezTo>
                    <a:cubicBezTo>
                      <a:pt x="4519" y="80"/>
                      <a:pt x="4486" y="77"/>
                      <a:pt x="4452" y="79"/>
                    </a:cubicBezTo>
                    <a:cubicBezTo>
                      <a:pt x="4447" y="83"/>
                      <a:pt x="4448" y="90"/>
                      <a:pt x="4441" y="93"/>
                    </a:cubicBezTo>
                    <a:cubicBezTo>
                      <a:pt x="4423" y="101"/>
                      <a:pt x="4384" y="89"/>
                      <a:pt x="4362" y="94"/>
                    </a:cubicBezTo>
                    <a:cubicBezTo>
                      <a:pt x="4355" y="97"/>
                      <a:pt x="4355" y="105"/>
                      <a:pt x="4348" y="106"/>
                    </a:cubicBezTo>
                    <a:cubicBezTo>
                      <a:pt x="4342" y="107"/>
                      <a:pt x="4327" y="101"/>
                      <a:pt x="4321" y="98"/>
                    </a:cubicBezTo>
                    <a:cubicBezTo>
                      <a:pt x="4315" y="94"/>
                      <a:pt x="4311" y="86"/>
                      <a:pt x="4304" y="81"/>
                    </a:cubicBezTo>
                    <a:cubicBezTo>
                      <a:pt x="4295" y="74"/>
                      <a:pt x="4281" y="65"/>
                      <a:pt x="4273" y="63"/>
                    </a:cubicBezTo>
                    <a:cubicBezTo>
                      <a:pt x="4258" y="59"/>
                      <a:pt x="4236" y="63"/>
                      <a:pt x="4217" y="62"/>
                    </a:cubicBezTo>
                    <a:cubicBezTo>
                      <a:pt x="4212" y="61"/>
                      <a:pt x="4206" y="59"/>
                      <a:pt x="4200" y="60"/>
                    </a:cubicBezTo>
                    <a:cubicBezTo>
                      <a:pt x="4191" y="61"/>
                      <a:pt x="4182" y="72"/>
                      <a:pt x="4170" y="72"/>
                    </a:cubicBezTo>
                    <a:cubicBezTo>
                      <a:pt x="4165" y="72"/>
                      <a:pt x="4158" y="69"/>
                      <a:pt x="4151" y="69"/>
                    </a:cubicBezTo>
                    <a:cubicBezTo>
                      <a:pt x="4146" y="68"/>
                      <a:pt x="4140" y="69"/>
                      <a:pt x="4136" y="69"/>
                    </a:cubicBezTo>
                    <a:cubicBezTo>
                      <a:pt x="4130" y="68"/>
                      <a:pt x="4124" y="63"/>
                      <a:pt x="4118" y="62"/>
                    </a:cubicBezTo>
                    <a:cubicBezTo>
                      <a:pt x="4107" y="60"/>
                      <a:pt x="4090" y="60"/>
                      <a:pt x="4077" y="60"/>
                    </a:cubicBezTo>
                    <a:cubicBezTo>
                      <a:pt x="4067" y="60"/>
                      <a:pt x="4058" y="63"/>
                      <a:pt x="4049" y="61"/>
                    </a:cubicBezTo>
                    <a:cubicBezTo>
                      <a:pt x="4035" y="57"/>
                      <a:pt x="4029" y="47"/>
                      <a:pt x="4018" y="43"/>
                    </a:cubicBezTo>
                    <a:cubicBezTo>
                      <a:pt x="4015" y="25"/>
                      <a:pt x="4005" y="27"/>
                      <a:pt x="3991" y="22"/>
                    </a:cubicBezTo>
                    <a:cubicBezTo>
                      <a:pt x="3986" y="20"/>
                      <a:pt x="3982" y="16"/>
                      <a:pt x="3978" y="15"/>
                    </a:cubicBezTo>
                    <a:cubicBezTo>
                      <a:pt x="3957" y="9"/>
                      <a:pt x="3933" y="16"/>
                      <a:pt x="3909" y="13"/>
                    </a:cubicBezTo>
                    <a:cubicBezTo>
                      <a:pt x="3902" y="12"/>
                      <a:pt x="3895" y="3"/>
                      <a:pt x="3887" y="2"/>
                    </a:cubicBezTo>
                    <a:cubicBezTo>
                      <a:pt x="3878" y="0"/>
                      <a:pt x="3868" y="5"/>
                      <a:pt x="3856" y="6"/>
                    </a:cubicBezTo>
                    <a:cubicBezTo>
                      <a:pt x="3845" y="7"/>
                      <a:pt x="3832" y="4"/>
                      <a:pt x="3822" y="6"/>
                    </a:cubicBezTo>
                    <a:cubicBezTo>
                      <a:pt x="3816" y="8"/>
                      <a:pt x="3812" y="14"/>
                      <a:pt x="3806" y="16"/>
                    </a:cubicBezTo>
                    <a:cubicBezTo>
                      <a:pt x="3799" y="19"/>
                      <a:pt x="3792" y="20"/>
                      <a:pt x="3786" y="21"/>
                    </a:cubicBezTo>
                    <a:cubicBezTo>
                      <a:pt x="3775" y="21"/>
                      <a:pt x="3764" y="13"/>
                      <a:pt x="3752" y="14"/>
                    </a:cubicBezTo>
                    <a:cubicBezTo>
                      <a:pt x="3741" y="15"/>
                      <a:pt x="3727" y="25"/>
                      <a:pt x="3713" y="27"/>
                    </a:cubicBezTo>
                    <a:cubicBezTo>
                      <a:pt x="3690" y="31"/>
                      <a:pt x="3667" y="32"/>
                      <a:pt x="3653" y="42"/>
                    </a:cubicBezTo>
                    <a:cubicBezTo>
                      <a:pt x="3648" y="47"/>
                      <a:pt x="3658" y="51"/>
                      <a:pt x="3654" y="56"/>
                    </a:cubicBezTo>
                    <a:cubicBezTo>
                      <a:pt x="3638" y="62"/>
                      <a:pt x="3610" y="55"/>
                      <a:pt x="3597" y="64"/>
                    </a:cubicBezTo>
                    <a:cubicBezTo>
                      <a:pt x="3594" y="70"/>
                      <a:pt x="3603" y="76"/>
                      <a:pt x="3596" y="81"/>
                    </a:cubicBezTo>
                    <a:cubicBezTo>
                      <a:pt x="3586" y="80"/>
                      <a:pt x="3584" y="76"/>
                      <a:pt x="3577" y="76"/>
                    </a:cubicBezTo>
                    <a:cubicBezTo>
                      <a:pt x="3565" y="77"/>
                      <a:pt x="3558" y="94"/>
                      <a:pt x="3549" y="94"/>
                    </a:cubicBezTo>
                    <a:cubicBezTo>
                      <a:pt x="3542" y="94"/>
                      <a:pt x="3538" y="82"/>
                      <a:pt x="3530" y="82"/>
                    </a:cubicBezTo>
                    <a:cubicBezTo>
                      <a:pt x="3521" y="82"/>
                      <a:pt x="3517" y="102"/>
                      <a:pt x="3509" y="102"/>
                    </a:cubicBezTo>
                    <a:cubicBezTo>
                      <a:pt x="3500" y="102"/>
                      <a:pt x="3502" y="89"/>
                      <a:pt x="3496" y="81"/>
                    </a:cubicBezTo>
                    <a:cubicBezTo>
                      <a:pt x="3486" y="68"/>
                      <a:pt x="3454" y="68"/>
                      <a:pt x="3444" y="77"/>
                    </a:cubicBezTo>
                    <a:cubicBezTo>
                      <a:pt x="3441" y="80"/>
                      <a:pt x="3429" y="102"/>
                      <a:pt x="3429" y="104"/>
                    </a:cubicBezTo>
                    <a:cubicBezTo>
                      <a:pt x="3429" y="109"/>
                      <a:pt x="3439" y="126"/>
                      <a:pt x="3441" y="128"/>
                    </a:cubicBezTo>
                    <a:cubicBezTo>
                      <a:pt x="3449" y="134"/>
                      <a:pt x="3467" y="130"/>
                      <a:pt x="3469" y="145"/>
                    </a:cubicBezTo>
                    <a:cubicBezTo>
                      <a:pt x="3446" y="145"/>
                      <a:pt x="3422" y="132"/>
                      <a:pt x="3396" y="129"/>
                    </a:cubicBezTo>
                    <a:cubicBezTo>
                      <a:pt x="3379" y="126"/>
                      <a:pt x="3361" y="127"/>
                      <a:pt x="3344" y="125"/>
                    </a:cubicBezTo>
                    <a:cubicBezTo>
                      <a:pt x="3339" y="132"/>
                      <a:pt x="3356" y="137"/>
                      <a:pt x="3348" y="144"/>
                    </a:cubicBezTo>
                    <a:cubicBezTo>
                      <a:pt x="3344" y="149"/>
                      <a:pt x="3333" y="140"/>
                      <a:pt x="3327" y="140"/>
                    </a:cubicBezTo>
                    <a:cubicBezTo>
                      <a:pt x="3318" y="139"/>
                      <a:pt x="3311" y="145"/>
                      <a:pt x="3300" y="147"/>
                    </a:cubicBezTo>
                    <a:cubicBezTo>
                      <a:pt x="3296" y="147"/>
                      <a:pt x="3290" y="146"/>
                      <a:pt x="3285" y="147"/>
                    </a:cubicBezTo>
                    <a:cubicBezTo>
                      <a:pt x="3278" y="147"/>
                      <a:pt x="3273" y="151"/>
                      <a:pt x="3268" y="150"/>
                    </a:cubicBezTo>
                    <a:cubicBezTo>
                      <a:pt x="3260" y="149"/>
                      <a:pt x="3255" y="141"/>
                      <a:pt x="3248" y="141"/>
                    </a:cubicBezTo>
                    <a:cubicBezTo>
                      <a:pt x="3243" y="141"/>
                      <a:pt x="3236" y="146"/>
                      <a:pt x="3229" y="148"/>
                    </a:cubicBezTo>
                    <a:cubicBezTo>
                      <a:pt x="3224" y="149"/>
                      <a:pt x="3218" y="148"/>
                      <a:pt x="3215" y="149"/>
                    </a:cubicBezTo>
                    <a:cubicBezTo>
                      <a:pt x="3210" y="150"/>
                      <a:pt x="3204" y="155"/>
                      <a:pt x="3198" y="158"/>
                    </a:cubicBezTo>
                    <a:cubicBezTo>
                      <a:pt x="3193" y="160"/>
                      <a:pt x="3186" y="160"/>
                      <a:pt x="3182" y="162"/>
                    </a:cubicBezTo>
                    <a:cubicBezTo>
                      <a:pt x="3172" y="167"/>
                      <a:pt x="3170" y="177"/>
                      <a:pt x="3159" y="178"/>
                    </a:cubicBezTo>
                    <a:cubicBezTo>
                      <a:pt x="3154" y="178"/>
                      <a:pt x="3145" y="177"/>
                      <a:pt x="3141" y="168"/>
                    </a:cubicBezTo>
                    <a:cubicBezTo>
                      <a:pt x="3140" y="161"/>
                      <a:pt x="3147" y="162"/>
                      <a:pt x="3145" y="154"/>
                    </a:cubicBezTo>
                    <a:cubicBezTo>
                      <a:pt x="3142" y="148"/>
                      <a:pt x="3121" y="145"/>
                      <a:pt x="3118" y="153"/>
                    </a:cubicBezTo>
                    <a:cubicBezTo>
                      <a:pt x="3110" y="165"/>
                      <a:pt x="3125" y="171"/>
                      <a:pt x="3123" y="183"/>
                    </a:cubicBezTo>
                    <a:cubicBezTo>
                      <a:pt x="3121" y="184"/>
                      <a:pt x="3120" y="186"/>
                      <a:pt x="3119" y="188"/>
                    </a:cubicBezTo>
                    <a:cubicBezTo>
                      <a:pt x="3098" y="179"/>
                      <a:pt x="3082" y="191"/>
                      <a:pt x="3069" y="199"/>
                    </a:cubicBezTo>
                    <a:cubicBezTo>
                      <a:pt x="3067" y="205"/>
                      <a:pt x="3068" y="214"/>
                      <a:pt x="3062" y="216"/>
                    </a:cubicBezTo>
                    <a:cubicBezTo>
                      <a:pt x="3046" y="218"/>
                      <a:pt x="3033" y="204"/>
                      <a:pt x="3022" y="212"/>
                    </a:cubicBezTo>
                    <a:cubicBezTo>
                      <a:pt x="3020" y="224"/>
                      <a:pt x="3036" y="217"/>
                      <a:pt x="3034" y="229"/>
                    </a:cubicBezTo>
                    <a:cubicBezTo>
                      <a:pt x="3009" y="232"/>
                      <a:pt x="2982" y="213"/>
                      <a:pt x="2982" y="188"/>
                    </a:cubicBezTo>
                    <a:cubicBezTo>
                      <a:pt x="3000" y="182"/>
                      <a:pt x="3023" y="192"/>
                      <a:pt x="3041" y="192"/>
                    </a:cubicBezTo>
                    <a:cubicBezTo>
                      <a:pt x="3051" y="192"/>
                      <a:pt x="3076" y="188"/>
                      <a:pt x="3075" y="173"/>
                    </a:cubicBezTo>
                    <a:cubicBezTo>
                      <a:pt x="3075" y="161"/>
                      <a:pt x="3047" y="155"/>
                      <a:pt x="3034" y="151"/>
                    </a:cubicBezTo>
                    <a:cubicBezTo>
                      <a:pt x="3018" y="146"/>
                      <a:pt x="3001" y="137"/>
                      <a:pt x="2985" y="135"/>
                    </a:cubicBezTo>
                    <a:cubicBezTo>
                      <a:pt x="2980" y="135"/>
                      <a:pt x="2974" y="136"/>
                      <a:pt x="2969" y="135"/>
                    </a:cubicBezTo>
                    <a:cubicBezTo>
                      <a:pt x="2955" y="134"/>
                      <a:pt x="2943" y="126"/>
                      <a:pt x="2932" y="125"/>
                    </a:cubicBezTo>
                    <a:cubicBezTo>
                      <a:pt x="2925" y="125"/>
                      <a:pt x="2919" y="127"/>
                      <a:pt x="2914" y="125"/>
                    </a:cubicBezTo>
                    <a:cubicBezTo>
                      <a:pt x="2904" y="122"/>
                      <a:pt x="2904" y="113"/>
                      <a:pt x="2897" y="110"/>
                    </a:cubicBezTo>
                    <a:cubicBezTo>
                      <a:pt x="2882" y="103"/>
                      <a:pt x="2865" y="109"/>
                      <a:pt x="2848" y="109"/>
                    </a:cubicBezTo>
                    <a:cubicBezTo>
                      <a:pt x="2837" y="108"/>
                      <a:pt x="2827" y="106"/>
                      <a:pt x="2819" y="106"/>
                    </a:cubicBezTo>
                    <a:cubicBezTo>
                      <a:pt x="2813" y="107"/>
                      <a:pt x="2808" y="110"/>
                      <a:pt x="2804" y="110"/>
                    </a:cubicBezTo>
                    <a:cubicBezTo>
                      <a:pt x="2801" y="110"/>
                      <a:pt x="2794" y="108"/>
                      <a:pt x="2792" y="109"/>
                    </a:cubicBezTo>
                    <a:cubicBezTo>
                      <a:pt x="2785" y="110"/>
                      <a:pt x="2779" y="116"/>
                      <a:pt x="2772" y="119"/>
                    </a:cubicBezTo>
                    <a:cubicBezTo>
                      <a:pt x="2760" y="123"/>
                      <a:pt x="2747" y="122"/>
                      <a:pt x="2734" y="124"/>
                    </a:cubicBezTo>
                    <a:cubicBezTo>
                      <a:pt x="2722" y="127"/>
                      <a:pt x="2712" y="140"/>
                      <a:pt x="2701" y="142"/>
                    </a:cubicBezTo>
                    <a:cubicBezTo>
                      <a:pt x="2692" y="143"/>
                      <a:pt x="2679" y="138"/>
                      <a:pt x="2675" y="145"/>
                    </a:cubicBezTo>
                    <a:cubicBezTo>
                      <a:pt x="2673" y="154"/>
                      <a:pt x="2681" y="156"/>
                      <a:pt x="2678" y="161"/>
                    </a:cubicBezTo>
                    <a:cubicBezTo>
                      <a:pt x="2671" y="174"/>
                      <a:pt x="2653" y="178"/>
                      <a:pt x="2644" y="190"/>
                    </a:cubicBezTo>
                    <a:cubicBezTo>
                      <a:pt x="2641" y="193"/>
                      <a:pt x="2641" y="199"/>
                      <a:pt x="2638" y="202"/>
                    </a:cubicBezTo>
                    <a:cubicBezTo>
                      <a:pt x="2634" y="208"/>
                      <a:pt x="2628" y="210"/>
                      <a:pt x="2625" y="215"/>
                    </a:cubicBezTo>
                    <a:cubicBezTo>
                      <a:pt x="2620" y="222"/>
                      <a:pt x="2622" y="228"/>
                      <a:pt x="2616" y="231"/>
                    </a:cubicBezTo>
                    <a:cubicBezTo>
                      <a:pt x="2606" y="237"/>
                      <a:pt x="2591" y="233"/>
                      <a:pt x="2581" y="237"/>
                    </a:cubicBezTo>
                    <a:cubicBezTo>
                      <a:pt x="2575" y="239"/>
                      <a:pt x="2571" y="245"/>
                      <a:pt x="2566" y="248"/>
                    </a:cubicBezTo>
                    <a:cubicBezTo>
                      <a:pt x="2551" y="256"/>
                      <a:pt x="2532" y="258"/>
                      <a:pt x="2523" y="273"/>
                    </a:cubicBezTo>
                    <a:cubicBezTo>
                      <a:pt x="2521" y="285"/>
                      <a:pt x="2526" y="295"/>
                      <a:pt x="2528" y="304"/>
                    </a:cubicBezTo>
                    <a:cubicBezTo>
                      <a:pt x="2529" y="310"/>
                      <a:pt x="2527" y="316"/>
                      <a:pt x="2529" y="322"/>
                    </a:cubicBezTo>
                    <a:cubicBezTo>
                      <a:pt x="2532" y="332"/>
                      <a:pt x="2547" y="343"/>
                      <a:pt x="2561" y="343"/>
                    </a:cubicBezTo>
                    <a:cubicBezTo>
                      <a:pt x="2582" y="343"/>
                      <a:pt x="2599" y="316"/>
                      <a:pt x="2616" y="319"/>
                    </a:cubicBezTo>
                    <a:cubicBezTo>
                      <a:pt x="2624" y="321"/>
                      <a:pt x="2625" y="334"/>
                      <a:pt x="2629" y="342"/>
                    </a:cubicBezTo>
                    <a:cubicBezTo>
                      <a:pt x="2633" y="349"/>
                      <a:pt x="2651" y="360"/>
                      <a:pt x="2648" y="372"/>
                    </a:cubicBezTo>
                    <a:cubicBezTo>
                      <a:pt x="2646" y="381"/>
                      <a:pt x="2625" y="384"/>
                      <a:pt x="2615" y="384"/>
                    </a:cubicBezTo>
                    <a:cubicBezTo>
                      <a:pt x="2614" y="374"/>
                      <a:pt x="2616" y="358"/>
                      <a:pt x="2608" y="352"/>
                    </a:cubicBezTo>
                    <a:cubicBezTo>
                      <a:pt x="2591" y="360"/>
                      <a:pt x="2579" y="357"/>
                      <a:pt x="2575" y="371"/>
                    </a:cubicBezTo>
                    <a:cubicBezTo>
                      <a:pt x="2569" y="388"/>
                      <a:pt x="2585" y="400"/>
                      <a:pt x="2582" y="415"/>
                    </a:cubicBezTo>
                    <a:cubicBezTo>
                      <a:pt x="2580" y="432"/>
                      <a:pt x="2546" y="426"/>
                      <a:pt x="2531" y="429"/>
                    </a:cubicBezTo>
                    <a:cubicBezTo>
                      <a:pt x="2520" y="431"/>
                      <a:pt x="2516" y="444"/>
                      <a:pt x="2507" y="456"/>
                    </a:cubicBezTo>
                    <a:cubicBezTo>
                      <a:pt x="2500" y="463"/>
                      <a:pt x="2488" y="472"/>
                      <a:pt x="2479" y="476"/>
                    </a:cubicBezTo>
                    <a:cubicBezTo>
                      <a:pt x="2474" y="478"/>
                      <a:pt x="2468" y="477"/>
                      <a:pt x="2464" y="480"/>
                    </a:cubicBezTo>
                    <a:cubicBezTo>
                      <a:pt x="2458" y="484"/>
                      <a:pt x="2456" y="494"/>
                      <a:pt x="2449" y="499"/>
                    </a:cubicBezTo>
                    <a:cubicBezTo>
                      <a:pt x="2443" y="502"/>
                      <a:pt x="2424" y="512"/>
                      <a:pt x="2418" y="512"/>
                    </a:cubicBezTo>
                    <a:cubicBezTo>
                      <a:pt x="2412" y="513"/>
                      <a:pt x="2406" y="506"/>
                      <a:pt x="2402" y="508"/>
                    </a:cubicBezTo>
                    <a:cubicBezTo>
                      <a:pt x="2395" y="510"/>
                      <a:pt x="2396" y="523"/>
                      <a:pt x="2388" y="526"/>
                    </a:cubicBezTo>
                    <a:cubicBezTo>
                      <a:pt x="2374" y="531"/>
                      <a:pt x="2349" y="513"/>
                      <a:pt x="2344" y="535"/>
                    </a:cubicBezTo>
                    <a:cubicBezTo>
                      <a:pt x="2350" y="547"/>
                      <a:pt x="2366" y="544"/>
                      <a:pt x="2377" y="551"/>
                    </a:cubicBezTo>
                    <a:cubicBezTo>
                      <a:pt x="2384" y="556"/>
                      <a:pt x="2399" y="575"/>
                      <a:pt x="2401" y="583"/>
                    </a:cubicBezTo>
                    <a:cubicBezTo>
                      <a:pt x="2402" y="589"/>
                      <a:pt x="2400" y="614"/>
                      <a:pt x="2397" y="621"/>
                    </a:cubicBezTo>
                    <a:cubicBezTo>
                      <a:pt x="2390" y="638"/>
                      <a:pt x="2374" y="632"/>
                      <a:pt x="2354" y="632"/>
                    </a:cubicBezTo>
                    <a:cubicBezTo>
                      <a:pt x="2348" y="632"/>
                      <a:pt x="2342" y="633"/>
                      <a:pt x="2337" y="633"/>
                    </a:cubicBezTo>
                    <a:cubicBezTo>
                      <a:pt x="2302" y="630"/>
                      <a:pt x="2268" y="618"/>
                      <a:pt x="2252" y="643"/>
                    </a:cubicBezTo>
                    <a:cubicBezTo>
                      <a:pt x="2254" y="662"/>
                      <a:pt x="2258" y="674"/>
                      <a:pt x="2253" y="691"/>
                    </a:cubicBezTo>
                    <a:cubicBezTo>
                      <a:pt x="2250" y="703"/>
                      <a:pt x="2239" y="714"/>
                      <a:pt x="2240" y="724"/>
                    </a:cubicBezTo>
                    <a:cubicBezTo>
                      <a:pt x="2240" y="730"/>
                      <a:pt x="2247" y="735"/>
                      <a:pt x="2248" y="742"/>
                    </a:cubicBezTo>
                    <a:cubicBezTo>
                      <a:pt x="2248" y="746"/>
                      <a:pt x="2246" y="754"/>
                      <a:pt x="2248" y="758"/>
                    </a:cubicBezTo>
                    <a:cubicBezTo>
                      <a:pt x="2253" y="769"/>
                      <a:pt x="2269" y="759"/>
                      <a:pt x="2279" y="761"/>
                    </a:cubicBezTo>
                    <a:cubicBezTo>
                      <a:pt x="2289" y="763"/>
                      <a:pt x="2300" y="777"/>
                      <a:pt x="2300" y="788"/>
                    </a:cubicBezTo>
                    <a:cubicBezTo>
                      <a:pt x="2300" y="796"/>
                      <a:pt x="2293" y="808"/>
                      <a:pt x="2288" y="816"/>
                    </a:cubicBezTo>
                    <a:cubicBezTo>
                      <a:pt x="2278" y="830"/>
                      <a:pt x="2265" y="831"/>
                      <a:pt x="2251" y="839"/>
                    </a:cubicBezTo>
                    <a:cubicBezTo>
                      <a:pt x="2240" y="846"/>
                      <a:pt x="2235" y="857"/>
                      <a:pt x="2228" y="868"/>
                    </a:cubicBezTo>
                    <a:cubicBezTo>
                      <a:pt x="2220" y="880"/>
                      <a:pt x="2216" y="888"/>
                      <a:pt x="2219" y="906"/>
                    </a:cubicBezTo>
                    <a:cubicBezTo>
                      <a:pt x="2209" y="926"/>
                      <a:pt x="2194" y="938"/>
                      <a:pt x="2173" y="947"/>
                    </a:cubicBezTo>
                    <a:cubicBezTo>
                      <a:pt x="2167" y="950"/>
                      <a:pt x="2159" y="951"/>
                      <a:pt x="2153" y="955"/>
                    </a:cubicBezTo>
                    <a:cubicBezTo>
                      <a:pt x="2149" y="958"/>
                      <a:pt x="2146" y="967"/>
                      <a:pt x="2140" y="974"/>
                    </a:cubicBezTo>
                    <a:cubicBezTo>
                      <a:pt x="2132" y="983"/>
                      <a:pt x="2124" y="986"/>
                      <a:pt x="2120" y="993"/>
                    </a:cubicBezTo>
                    <a:cubicBezTo>
                      <a:pt x="2116" y="998"/>
                      <a:pt x="2115" y="1008"/>
                      <a:pt x="2112" y="1015"/>
                    </a:cubicBezTo>
                    <a:cubicBezTo>
                      <a:pt x="2107" y="1025"/>
                      <a:pt x="2097" y="1029"/>
                      <a:pt x="2091" y="1039"/>
                    </a:cubicBezTo>
                    <a:cubicBezTo>
                      <a:pt x="2088" y="1043"/>
                      <a:pt x="2086" y="1052"/>
                      <a:pt x="2083" y="1058"/>
                    </a:cubicBezTo>
                    <a:cubicBezTo>
                      <a:pt x="2076" y="1071"/>
                      <a:pt x="2064" y="1080"/>
                      <a:pt x="2065" y="1091"/>
                    </a:cubicBezTo>
                    <a:cubicBezTo>
                      <a:pt x="2066" y="1102"/>
                      <a:pt x="2079" y="1104"/>
                      <a:pt x="2079" y="1113"/>
                    </a:cubicBezTo>
                    <a:cubicBezTo>
                      <a:pt x="2080" y="1119"/>
                      <a:pt x="2076" y="1122"/>
                      <a:pt x="2076" y="1128"/>
                    </a:cubicBezTo>
                    <a:cubicBezTo>
                      <a:pt x="2076" y="1137"/>
                      <a:pt x="2082" y="1143"/>
                      <a:pt x="2083" y="1149"/>
                    </a:cubicBezTo>
                    <a:cubicBezTo>
                      <a:pt x="2084" y="1166"/>
                      <a:pt x="2077" y="1172"/>
                      <a:pt x="2074" y="1184"/>
                    </a:cubicBezTo>
                    <a:cubicBezTo>
                      <a:pt x="2072" y="1189"/>
                      <a:pt x="2073" y="1195"/>
                      <a:pt x="2072" y="1199"/>
                    </a:cubicBezTo>
                    <a:cubicBezTo>
                      <a:pt x="2069" y="1208"/>
                      <a:pt x="2057" y="1215"/>
                      <a:pt x="2057" y="1225"/>
                    </a:cubicBezTo>
                    <a:cubicBezTo>
                      <a:pt x="2057" y="1232"/>
                      <a:pt x="2064" y="1237"/>
                      <a:pt x="2065" y="1247"/>
                    </a:cubicBezTo>
                    <a:cubicBezTo>
                      <a:pt x="2065" y="1254"/>
                      <a:pt x="2061" y="1261"/>
                      <a:pt x="2063" y="1267"/>
                    </a:cubicBezTo>
                    <a:cubicBezTo>
                      <a:pt x="2065" y="1279"/>
                      <a:pt x="2087" y="1294"/>
                      <a:pt x="2096" y="1303"/>
                    </a:cubicBezTo>
                    <a:cubicBezTo>
                      <a:pt x="2109" y="1316"/>
                      <a:pt x="2125" y="1325"/>
                      <a:pt x="2131" y="1339"/>
                    </a:cubicBezTo>
                    <a:cubicBezTo>
                      <a:pt x="2135" y="1350"/>
                      <a:pt x="2135" y="1365"/>
                      <a:pt x="2144" y="1373"/>
                    </a:cubicBezTo>
                    <a:cubicBezTo>
                      <a:pt x="2151" y="1380"/>
                      <a:pt x="2161" y="1383"/>
                      <a:pt x="2170" y="1390"/>
                    </a:cubicBezTo>
                    <a:cubicBezTo>
                      <a:pt x="2178" y="1396"/>
                      <a:pt x="2186" y="1401"/>
                      <a:pt x="2194" y="1408"/>
                    </a:cubicBezTo>
                    <a:cubicBezTo>
                      <a:pt x="2208" y="1418"/>
                      <a:pt x="2228" y="1440"/>
                      <a:pt x="2250" y="1438"/>
                    </a:cubicBezTo>
                    <a:cubicBezTo>
                      <a:pt x="2261" y="1437"/>
                      <a:pt x="2273" y="1428"/>
                      <a:pt x="2286" y="1426"/>
                    </a:cubicBezTo>
                    <a:cubicBezTo>
                      <a:pt x="2299" y="1423"/>
                      <a:pt x="2316" y="1422"/>
                      <a:pt x="2329" y="1423"/>
                    </a:cubicBezTo>
                    <a:cubicBezTo>
                      <a:pt x="2339" y="1424"/>
                      <a:pt x="2350" y="1431"/>
                      <a:pt x="2360" y="1430"/>
                    </a:cubicBezTo>
                    <a:cubicBezTo>
                      <a:pt x="2372" y="1430"/>
                      <a:pt x="2385" y="1421"/>
                      <a:pt x="2397" y="1416"/>
                    </a:cubicBezTo>
                    <a:cubicBezTo>
                      <a:pt x="2419" y="1406"/>
                      <a:pt x="2452" y="1393"/>
                      <a:pt x="2484" y="1398"/>
                    </a:cubicBezTo>
                    <a:cubicBezTo>
                      <a:pt x="2509" y="1401"/>
                      <a:pt x="2507" y="1429"/>
                      <a:pt x="2524" y="1440"/>
                    </a:cubicBezTo>
                    <a:cubicBezTo>
                      <a:pt x="2544" y="1442"/>
                      <a:pt x="2560" y="1433"/>
                      <a:pt x="2576" y="1437"/>
                    </a:cubicBezTo>
                    <a:cubicBezTo>
                      <a:pt x="2587" y="1440"/>
                      <a:pt x="2601" y="1458"/>
                      <a:pt x="2602" y="1467"/>
                    </a:cubicBezTo>
                    <a:cubicBezTo>
                      <a:pt x="2604" y="1477"/>
                      <a:pt x="2597" y="1491"/>
                      <a:pt x="2596" y="1497"/>
                    </a:cubicBezTo>
                    <a:cubicBezTo>
                      <a:pt x="2593" y="1510"/>
                      <a:pt x="2592" y="1526"/>
                      <a:pt x="2590" y="1534"/>
                    </a:cubicBezTo>
                    <a:cubicBezTo>
                      <a:pt x="2588" y="1540"/>
                      <a:pt x="2583" y="1544"/>
                      <a:pt x="2583" y="1551"/>
                    </a:cubicBezTo>
                    <a:cubicBezTo>
                      <a:pt x="2584" y="1556"/>
                      <a:pt x="2591" y="1571"/>
                      <a:pt x="2597" y="1578"/>
                    </a:cubicBezTo>
                    <a:cubicBezTo>
                      <a:pt x="2604" y="1588"/>
                      <a:pt x="2616" y="1595"/>
                      <a:pt x="2625" y="1605"/>
                    </a:cubicBezTo>
                    <a:cubicBezTo>
                      <a:pt x="2641" y="1624"/>
                      <a:pt x="2648" y="1646"/>
                      <a:pt x="2659" y="1671"/>
                    </a:cubicBezTo>
                    <a:cubicBezTo>
                      <a:pt x="2663" y="1680"/>
                      <a:pt x="2671" y="1694"/>
                      <a:pt x="2672" y="1703"/>
                    </a:cubicBezTo>
                    <a:cubicBezTo>
                      <a:pt x="2672" y="1710"/>
                      <a:pt x="2668" y="1716"/>
                      <a:pt x="2668" y="1723"/>
                    </a:cubicBezTo>
                    <a:cubicBezTo>
                      <a:pt x="2670" y="1738"/>
                      <a:pt x="2679" y="1745"/>
                      <a:pt x="2680" y="1758"/>
                    </a:cubicBezTo>
                    <a:cubicBezTo>
                      <a:pt x="2684" y="1789"/>
                      <a:pt x="2656" y="1798"/>
                      <a:pt x="2650" y="1824"/>
                    </a:cubicBezTo>
                    <a:cubicBezTo>
                      <a:pt x="2649" y="1830"/>
                      <a:pt x="2651" y="1836"/>
                      <a:pt x="2649" y="1842"/>
                    </a:cubicBezTo>
                    <a:cubicBezTo>
                      <a:pt x="2647" y="1850"/>
                      <a:pt x="2642" y="1856"/>
                      <a:pt x="2640" y="1864"/>
                    </a:cubicBezTo>
                    <a:cubicBezTo>
                      <a:pt x="2639" y="1872"/>
                      <a:pt x="2637" y="1887"/>
                      <a:pt x="2638" y="1895"/>
                    </a:cubicBezTo>
                    <a:cubicBezTo>
                      <a:pt x="2639" y="1907"/>
                      <a:pt x="2652" y="1918"/>
                      <a:pt x="2658" y="1929"/>
                    </a:cubicBezTo>
                    <a:cubicBezTo>
                      <a:pt x="2665" y="1940"/>
                      <a:pt x="2670" y="1959"/>
                      <a:pt x="2678" y="1973"/>
                    </a:cubicBezTo>
                    <a:cubicBezTo>
                      <a:pt x="2683" y="1981"/>
                      <a:pt x="2690" y="1988"/>
                      <a:pt x="2692" y="1994"/>
                    </a:cubicBezTo>
                    <a:cubicBezTo>
                      <a:pt x="2694" y="2003"/>
                      <a:pt x="2692" y="2014"/>
                      <a:pt x="2693" y="2024"/>
                    </a:cubicBezTo>
                    <a:cubicBezTo>
                      <a:pt x="2694" y="2033"/>
                      <a:pt x="2698" y="2040"/>
                      <a:pt x="2699" y="2047"/>
                    </a:cubicBezTo>
                    <a:cubicBezTo>
                      <a:pt x="2703" y="2067"/>
                      <a:pt x="2704" y="2088"/>
                      <a:pt x="2714" y="2105"/>
                    </a:cubicBezTo>
                    <a:cubicBezTo>
                      <a:pt x="2719" y="2113"/>
                      <a:pt x="2728" y="2118"/>
                      <a:pt x="2735" y="2129"/>
                    </a:cubicBezTo>
                    <a:cubicBezTo>
                      <a:pt x="2742" y="2140"/>
                      <a:pt x="2744" y="2154"/>
                      <a:pt x="2751" y="2166"/>
                    </a:cubicBezTo>
                    <a:cubicBezTo>
                      <a:pt x="2757" y="2179"/>
                      <a:pt x="2766" y="2188"/>
                      <a:pt x="2766" y="2195"/>
                    </a:cubicBezTo>
                    <a:cubicBezTo>
                      <a:pt x="2766" y="2201"/>
                      <a:pt x="2761" y="2207"/>
                      <a:pt x="2761" y="2214"/>
                    </a:cubicBezTo>
                    <a:cubicBezTo>
                      <a:pt x="2761" y="2231"/>
                      <a:pt x="2780" y="2248"/>
                      <a:pt x="2794" y="2249"/>
                    </a:cubicBezTo>
                    <a:cubicBezTo>
                      <a:pt x="2801" y="2249"/>
                      <a:pt x="2807" y="2243"/>
                      <a:pt x="2814" y="2242"/>
                    </a:cubicBezTo>
                    <a:cubicBezTo>
                      <a:pt x="2818" y="2241"/>
                      <a:pt x="2823" y="2243"/>
                      <a:pt x="2827" y="2242"/>
                    </a:cubicBezTo>
                    <a:cubicBezTo>
                      <a:pt x="2833" y="2241"/>
                      <a:pt x="2839" y="2236"/>
                      <a:pt x="2844" y="2235"/>
                    </a:cubicBezTo>
                    <a:cubicBezTo>
                      <a:pt x="2859" y="2233"/>
                      <a:pt x="2873" y="2237"/>
                      <a:pt x="2887" y="2236"/>
                    </a:cubicBezTo>
                    <a:cubicBezTo>
                      <a:pt x="2910" y="2235"/>
                      <a:pt x="2937" y="2224"/>
                      <a:pt x="2951" y="2213"/>
                    </a:cubicBezTo>
                    <a:cubicBezTo>
                      <a:pt x="2968" y="2201"/>
                      <a:pt x="2986" y="2186"/>
                      <a:pt x="2999" y="2172"/>
                    </a:cubicBezTo>
                    <a:cubicBezTo>
                      <a:pt x="3009" y="2161"/>
                      <a:pt x="3014" y="2147"/>
                      <a:pt x="3023" y="2137"/>
                    </a:cubicBezTo>
                    <a:cubicBezTo>
                      <a:pt x="3030" y="2129"/>
                      <a:pt x="3041" y="2125"/>
                      <a:pt x="3046" y="2116"/>
                    </a:cubicBezTo>
                    <a:cubicBezTo>
                      <a:pt x="3050" y="2110"/>
                      <a:pt x="3057" y="2089"/>
                      <a:pt x="3057" y="2084"/>
                    </a:cubicBezTo>
                    <a:cubicBezTo>
                      <a:pt x="3058" y="2077"/>
                      <a:pt x="3054" y="2072"/>
                      <a:pt x="3055" y="2066"/>
                    </a:cubicBezTo>
                    <a:cubicBezTo>
                      <a:pt x="3060" y="2045"/>
                      <a:pt x="3101" y="2049"/>
                      <a:pt x="3109" y="2030"/>
                    </a:cubicBezTo>
                    <a:cubicBezTo>
                      <a:pt x="3116" y="2012"/>
                      <a:pt x="3112" y="1989"/>
                      <a:pt x="3108" y="1972"/>
                    </a:cubicBezTo>
                    <a:cubicBezTo>
                      <a:pt x="3106" y="1966"/>
                      <a:pt x="3100" y="1956"/>
                      <a:pt x="3101" y="1950"/>
                    </a:cubicBezTo>
                    <a:cubicBezTo>
                      <a:pt x="3102" y="1939"/>
                      <a:pt x="3120" y="1928"/>
                      <a:pt x="3133" y="1917"/>
                    </a:cubicBezTo>
                    <a:cubicBezTo>
                      <a:pt x="3141" y="1911"/>
                      <a:pt x="3148" y="1901"/>
                      <a:pt x="3156" y="1895"/>
                    </a:cubicBezTo>
                    <a:cubicBezTo>
                      <a:pt x="3167" y="1887"/>
                      <a:pt x="3183" y="1885"/>
                      <a:pt x="3193" y="1878"/>
                    </a:cubicBezTo>
                    <a:cubicBezTo>
                      <a:pt x="3203" y="1872"/>
                      <a:pt x="3219" y="1855"/>
                      <a:pt x="3224" y="1845"/>
                    </a:cubicBezTo>
                    <a:cubicBezTo>
                      <a:pt x="3228" y="1834"/>
                      <a:pt x="3224" y="1825"/>
                      <a:pt x="3222" y="1813"/>
                    </a:cubicBezTo>
                    <a:cubicBezTo>
                      <a:pt x="3221" y="1794"/>
                      <a:pt x="3224" y="1772"/>
                      <a:pt x="3222" y="1749"/>
                    </a:cubicBezTo>
                    <a:cubicBezTo>
                      <a:pt x="3211" y="1739"/>
                      <a:pt x="3206" y="1722"/>
                      <a:pt x="3200" y="1707"/>
                    </a:cubicBezTo>
                    <a:cubicBezTo>
                      <a:pt x="3202" y="1694"/>
                      <a:pt x="3205" y="1684"/>
                      <a:pt x="3201" y="1672"/>
                    </a:cubicBezTo>
                    <a:cubicBezTo>
                      <a:pt x="3199" y="1665"/>
                      <a:pt x="3193" y="1661"/>
                      <a:pt x="3192" y="1654"/>
                    </a:cubicBezTo>
                    <a:cubicBezTo>
                      <a:pt x="3190" y="1637"/>
                      <a:pt x="3203" y="1628"/>
                      <a:pt x="3209" y="1615"/>
                    </a:cubicBezTo>
                    <a:cubicBezTo>
                      <a:pt x="3215" y="1604"/>
                      <a:pt x="3218" y="1593"/>
                      <a:pt x="3222" y="1586"/>
                    </a:cubicBezTo>
                    <a:cubicBezTo>
                      <a:pt x="3228" y="1578"/>
                      <a:pt x="3240" y="1574"/>
                      <a:pt x="3247" y="1566"/>
                    </a:cubicBezTo>
                    <a:cubicBezTo>
                      <a:pt x="3252" y="1561"/>
                      <a:pt x="3254" y="1553"/>
                      <a:pt x="3259" y="1546"/>
                    </a:cubicBezTo>
                    <a:cubicBezTo>
                      <a:pt x="3272" y="1529"/>
                      <a:pt x="3290" y="1510"/>
                      <a:pt x="3308" y="1497"/>
                    </a:cubicBezTo>
                    <a:cubicBezTo>
                      <a:pt x="3317" y="1490"/>
                      <a:pt x="3327" y="1487"/>
                      <a:pt x="3335" y="1480"/>
                    </a:cubicBezTo>
                    <a:cubicBezTo>
                      <a:pt x="3343" y="1474"/>
                      <a:pt x="3350" y="1466"/>
                      <a:pt x="3357" y="1458"/>
                    </a:cubicBezTo>
                    <a:cubicBezTo>
                      <a:pt x="3371" y="1443"/>
                      <a:pt x="3388" y="1426"/>
                      <a:pt x="3396" y="1408"/>
                    </a:cubicBezTo>
                    <a:cubicBezTo>
                      <a:pt x="3399" y="1402"/>
                      <a:pt x="3399" y="1395"/>
                      <a:pt x="3401" y="1390"/>
                    </a:cubicBezTo>
                    <a:cubicBezTo>
                      <a:pt x="3408" y="1372"/>
                      <a:pt x="3424" y="1357"/>
                      <a:pt x="3430" y="1338"/>
                    </a:cubicBezTo>
                    <a:cubicBezTo>
                      <a:pt x="3431" y="1334"/>
                      <a:pt x="3431" y="1330"/>
                      <a:pt x="3432" y="1325"/>
                    </a:cubicBezTo>
                    <a:cubicBezTo>
                      <a:pt x="3435" y="1313"/>
                      <a:pt x="3444" y="1299"/>
                      <a:pt x="3432" y="1286"/>
                    </a:cubicBezTo>
                    <a:cubicBezTo>
                      <a:pt x="3422" y="1283"/>
                      <a:pt x="3412" y="1295"/>
                      <a:pt x="3399" y="1296"/>
                    </a:cubicBezTo>
                    <a:cubicBezTo>
                      <a:pt x="3384" y="1298"/>
                      <a:pt x="3371" y="1297"/>
                      <a:pt x="3360" y="1300"/>
                    </a:cubicBezTo>
                    <a:cubicBezTo>
                      <a:pt x="3353" y="1301"/>
                      <a:pt x="3348" y="1306"/>
                      <a:pt x="3342" y="1307"/>
                    </a:cubicBezTo>
                    <a:cubicBezTo>
                      <a:pt x="3338" y="1308"/>
                      <a:pt x="3333" y="1307"/>
                      <a:pt x="3328" y="1307"/>
                    </a:cubicBezTo>
                    <a:cubicBezTo>
                      <a:pt x="3319" y="1309"/>
                      <a:pt x="3312" y="1315"/>
                      <a:pt x="3306" y="1314"/>
                    </a:cubicBezTo>
                    <a:cubicBezTo>
                      <a:pt x="3292" y="1313"/>
                      <a:pt x="3283" y="1296"/>
                      <a:pt x="3275" y="1287"/>
                    </a:cubicBezTo>
                    <a:cubicBezTo>
                      <a:pt x="3276" y="1281"/>
                      <a:pt x="3281" y="1278"/>
                      <a:pt x="3279" y="1271"/>
                    </a:cubicBezTo>
                    <a:cubicBezTo>
                      <a:pt x="3278" y="1265"/>
                      <a:pt x="3270" y="1264"/>
                      <a:pt x="3264" y="1258"/>
                    </a:cubicBezTo>
                    <a:cubicBezTo>
                      <a:pt x="3254" y="1249"/>
                      <a:pt x="3245" y="1236"/>
                      <a:pt x="3232" y="1227"/>
                    </a:cubicBezTo>
                    <a:cubicBezTo>
                      <a:pt x="3219" y="1218"/>
                      <a:pt x="3200" y="1211"/>
                      <a:pt x="3193" y="1197"/>
                    </a:cubicBezTo>
                    <a:cubicBezTo>
                      <a:pt x="3189" y="1187"/>
                      <a:pt x="3189" y="1173"/>
                      <a:pt x="3182" y="1162"/>
                    </a:cubicBezTo>
                    <a:cubicBezTo>
                      <a:pt x="3174" y="1150"/>
                      <a:pt x="3155" y="1142"/>
                      <a:pt x="3151" y="1129"/>
                    </a:cubicBezTo>
                    <a:cubicBezTo>
                      <a:pt x="3147" y="1115"/>
                      <a:pt x="3151" y="1106"/>
                      <a:pt x="3148" y="1092"/>
                    </a:cubicBezTo>
                    <a:cubicBezTo>
                      <a:pt x="3143" y="1072"/>
                      <a:pt x="3121" y="1066"/>
                      <a:pt x="3114" y="1049"/>
                    </a:cubicBezTo>
                    <a:cubicBezTo>
                      <a:pt x="3112" y="1044"/>
                      <a:pt x="3113" y="1038"/>
                      <a:pt x="3111" y="1033"/>
                    </a:cubicBezTo>
                    <a:cubicBezTo>
                      <a:pt x="3106" y="1021"/>
                      <a:pt x="3097" y="1009"/>
                      <a:pt x="3090" y="997"/>
                    </a:cubicBezTo>
                    <a:cubicBezTo>
                      <a:pt x="3082" y="985"/>
                      <a:pt x="3075" y="973"/>
                      <a:pt x="3071" y="958"/>
                    </a:cubicBezTo>
                    <a:cubicBezTo>
                      <a:pt x="3075" y="953"/>
                      <a:pt x="3085" y="952"/>
                      <a:pt x="3094" y="951"/>
                    </a:cubicBezTo>
                    <a:cubicBezTo>
                      <a:pt x="3112" y="965"/>
                      <a:pt x="3128" y="983"/>
                      <a:pt x="3139" y="1004"/>
                    </a:cubicBezTo>
                    <a:cubicBezTo>
                      <a:pt x="3142" y="1009"/>
                      <a:pt x="3142" y="1016"/>
                      <a:pt x="3145" y="1021"/>
                    </a:cubicBezTo>
                    <a:cubicBezTo>
                      <a:pt x="3150" y="1028"/>
                      <a:pt x="3159" y="1032"/>
                      <a:pt x="3163" y="1037"/>
                    </a:cubicBezTo>
                    <a:cubicBezTo>
                      <a:pt x="3169" y="1043"/>
                      <a:pt x="3175" y="1052"/>
                      <a:pt x="3177" y="1060"/>
                    </a:cubicBezTo>
                    <a:cubicBezTo>
                      <a:pt x="3178" y="1065"/>
                      <a:pt x="3176" y="1070"/>
                      <a:pt x="3178" y="1077"/>
                    </a:cubicBezTo>
                    <a:cubicBezTo>
                      <a:pt x="3183" y="1101"/>
                      <a:pt x="3209" y="1111"/>
                      <a:pt x="3222" y="1130"/>
                    </a:cubicBezTo>
                    <a:cubicBezTo>
                      <a:pt x="3226" y="1136"/>
                      <a:pt x="3228" y="1143"/>
                      <a:pt x="3231" y="1148"/>
                    </a:cubicBezTo>
                    <a:cubicBezTo>
                      <a:pt x="3238" y="1158"/>
                      <a:pt x="3250" y="1164"/>
                      <a:pt x="3253" y="1176"/>
                    </a:cubicBezTo>
                    <a:cubicBezTo>
                      <a:pt x="3252" y="1182"/>
                      <a:pt x="3243" y="1180"/>
                      <a:pt x="3244" y="1187"/>
                    </a:cubicBezTo>
                    <a:cubicBezTo>
                      <a:pt x="3247" y="1196"/>
                      <a:pt x="3257" y="1199"/>
                      <a:pt x="3261" y="1207"/>
                    </a:cubicBezTo>
                    <a:cubicBezTo>
                      <a:pt x="3271" y="1224"/>
                      <a:pt x="3272" y="1247"/>
                      <a:pt x="3280" y="1266"/>
                    </a:cubicBezTo>
                    <a:cubicBezTo>
                      <a:pt x="3298" y="1276"/>
                      <a:pt x="3313" y="1259"/>
                      <a:pt x="3331" y="1254"/>
                    </a:cubicBezTo>
                    <a:cubicBezTo>
                      <a:pt x="3336" y="1252"/>
                      <a:pt x="3342" y="1253"/>
                      <a:pt x="3347" y="1252"/>
                    </a:cubicBezTo>
                    <a:cubicBezTo>
                      <a:pt x="3354" y="1250"/>
                      <a:pt x="3361" y="1245"/>
                      <a:pt x="3369" y="1243"/>
                    </a:cubicBezTo>
                    <a:cubicBezTo>
                      <a:pt x="3372" y="1242"/>
                      <a:pt x="3376" y="1243"/>
                      <a:pt x="3380" y="1242"/>
                    </a:cubicBezTo>
                    <a:cubicBezTo>
                      <a:pt x="3388" y="1239"/>
                      <a:pt x="3394" y="1230"/>
                      <a:pt x="3403" y="1226"/>
                    </a:cubicBezTo>
                    <a:cubicBezTo>
                      <a:pt x="3418" y="1219"/>
                      <a:pt x="3435" y="1219"/>
                      <a:pt x="3445" y="1213"/>
                    </a:cubicBezTo>
                    <a:cubicBezTo>
                      <a:pt x="3455" y="1206"/>
                      <a:pt x="3455" y="1195"/>
                      <a:pt x="3463" y="1189"/>
                    </a:cubicBezTo>
                    <a:cubicBezTo>
                      <a:pt x="3476" y="1181"/>
                      <a:pt x="3490" y="1184"/>
                      <a:pt x="3505" y="1178"/>
                    </a:cubicBezTo>
                    <a:cubicBezTo>
                      <a:pt x="3512" y="1175"/>
                      <a:pt x="3516" y="1168"/>
                      <a:pt x="3524" y="1162"/>
                    </a:cubicBezTo>
                    <a:cubicBezTo>
                      <a:pt x="3529" y="1158"/>
                      <a:pt x="3536" y="1154"/>
                      <a:pt x="3542" y="1148"/>
                    </a:cubicBezTo>
                    <a:cubicBezTo>
                      <a:pt x="3548" y="1143"/>
                      <a:pt x="3558" y="1137"/>
                      <a:pt x="3560" y="1132"/>
                    </a:cubicBezTo>
                    <a:cubicBezTo>
                      <a:pt x="3561" y="1130"/>
                      <a:pt x="3561" y="1122"/>
                      <a:pt x="3563" y="1118"/>
                    </a:cubicBezTo>
                    <a:cubicBezTo>
                      <a:pt x="3565" y="1113"/>
                      <a:pt x="3571" y="1110"/>
                      <a:pt x="3576" y="1105"/>
                    </a:cubicBezTo>
                    <a:cubicBezTo>
                      <a:pt x="3580" y="1099"/>
                      <a:pt x="3595" y="1077"/>
                      <a:pt x="3595" y="1070"/>
                    </a:cubicBezTo>
                    <a:cubicBezTo>
                      <a:pt x="3594" y="1063"/>
                      <a:pt x="3572" y="1042"/>
                      <a:pt x="3567" y="1040"/>
                    </a:cubicBezTo>
                    <a:cubicBezTo>
                      <a:pt x="3559" y="1037"/>
                      <a:pt x="3551" y="1039"/>
                      <a:pt x="3546" y="1037"/>
                    </a:cubicBezTo>
                    <a:cubicBezTo>
                      <a:pt x="3538" y="1033"/>
                      <a:pt x="3531" y="1026"/>
                      <a:pt x="3527" y="1018"/>
                    </a:cubicBezTo>
                    <a:cubicBezTo>
                      <a:pt x="3523" y="1009"/>
                      <a:pt x="3527" y="1002"/>
                      <a:pt x="3515" y="994"/>
                    </a:cubicBezTo>
                    <a:cubicBezTo>
                      <a:pt x="3494" y="1012"/>
                      <a:pt x="3481" y="1037"/>
                      <a:pt x="3434" y="1030"/>
                    </a:cubicBezTo>
                    <a:cubicBezTo>
                      <a:pt x="3424" y="1025"/>
                      <a:pt x="3429" y="1007"/>
                      <a:pt x="3424" y="996"/>
                    </a:cubicBezTo>
                    <a:cubicBezTo>
                      <a:pt x="3419" y="991"/>
                      <a:pt x="3410" y="997"/>
                      <a:pt x="3405" y="995"/>
                    </a:cubicBezTo>
                    <a:cubicBezTo>
                      <a:pt x="3398" y="972"/>
                      <a:pt x="3375" y="965"/>
                      <a:pt x="3363" y="947"/>
                    </a:cubicBezTo>
                    <a:cubicBezTo>
                      <a:pt x="3359" y="942"/>
                      <a:pt x="3350" y="929"/>
                      <a:pt x="3351" y="922"/>
                    </a:cubicBezTo>
                    <a:cubicBezTo>
                      <a:pt x="3352" y="912"/>
                      <a:pt x="3366" y="906"/>
                      <a:pt x="3375" y="906"/>
                    </a:cubicBezTo>
                    <a:cubicBezTo>
                      <a:pt x="3401" y="906"/>
                      <a:pt x="3404" y="940"/>
                      <a:pt x="3421" y="952"/>
                    </a:cubicBezTo>
                    <a:cubicBezTo>
                      <a:pt x="3428" y="956"/>
                      <a:pt x="3437" y="960"/>
                      <a:pt x="3447" y="966"/>
                    </a:cubicBezTo>
                    <a:cubicBezTo>
                      <a:pt x="3460" y="975"/>
                      <a:pt x="3477" y="984"/>
                      <a:pt x="3498" y="980"/>
                    </a:cubicBezTo>
                    <a:cubicBezTo>
                      <a:pt x="3507" y="977"/>
                      <a:pt x="3513" y="969"/>
                      <a:pt x="3524" y="972"/>
                    </a:cubicBezTo>
                    <a:cubicBezTo>
                      <a:pt x="3532" y="974"/>
                      <a:pt x="3534" y="988"/>
                      <a:pt x="3539" y="993"/>
                    </a:cubicBezTo>
                    <a:cubicBezTo>
                      <a:pt x="3547" y="1000"/>
                      <a:pt x="3566" y="1004"/>
                      <a:pt x="3580" y="1005"/>
                    </a:cubicBezTo>
                    <a:cubicBezTo>
                      <a:pt x="3592" y="1006"/>
                      <a:pt x="3605" y="1009"/>
                      <a:pt x="3616" y="1010"/>
                    </a:cubicBezTo>
                    <a:cubicBezTo>
                      <a:pt x="3633" y="1012"/>
                      <a:pt x="3650" y="1009"/>
                      <a:pt x="3663" y="1008"/>
                    </a:cubicBezTo>
                    <a:cubicBezTo>
                      <a:pt x="3674" y="1007"/>
                      <a:pt x="3690" y="1008"/>
                      <a:pt x="3700" y="1008"/>
                    </a:cubicBezTo>
                    <a:cubicBezTo>
                      <a:pt x="3704" y="1007"/>
                      <a:pt x="3709" y="1005"/>
                      <a:pt x="3713" y="1005"/>
                    </a:cubicBezTo>
                    <a:cubicBezTo>
                      <a:pt x="3728" y="1007"/>
                      <a:pt x="3736" y="1025"/>
                      <a:pt x="3744" y="1032"/>
                    </a:cubicBezTo>
                    <a:cubicBezTo>
                      <a:pt x="3759" y="1045"/>
                      <a:pt x="3779" y="1051"/>
                      <a:pt x="3787" y="1062"/>
                    </a:cubicBezTo>
                    <a:cubicBezTo>
                      <a:pt x="3777" y="1081"/>
                      <a:pt x="3809" y="1101"/>
                      <a:pt x="3821" y="1101"/>
                    </a:cubicBezTo>
                    <a:cubicBezTo>
                      <a:pt x="3834" y="1101"/>
                      <a:pt x="3838" y="1090"/>
                      <a:pt x="3849" y="1088"/>
                    </a:cubicBezTo>
                    <a:cubicBezTo>
                      <a:pt x="3861" y="1093"/>
                      <a:pt x="3857" y="1102"/>
                      <a:pt x="3858" y="1117"/>
                    </a:cubicBezTo>
                    <a:cubicBezTo>
                      <a:pt x="3859" y="1127"/>
                      <a:pt x="3863" y="1142"/>
                      <a:pt x="3867" y="1155"/>
                    </a:cubicBezTo>
                    <a:cubicBezTo>
                      <a:pt x="3871" y="1166"/>
                      <a:pt x="3874" y="1180"/>
                      <a:pt x="3878" y="1190"/>
                    </a:cubicBezTo>
                    <a:cubicBezTo>
                      <a:pt x="3883" y="1203"/>
                      <a:pt x="3892" y="1215"/>
                      <a:pt x="3899" y="1227"/>
                    </a:cubicBezTo>
                    <a:cubicBezTo>
                      <a:pt x="3907" y="1241"/>
                      <a:pt x="3909" y="1257"/>
                      <a:pt x="3915" y="1270"/>
                    </a:cubicBezTo>
                    <a:cubicBezTo>
                      <a:pt x="3920" y="1280"/>
                      <a:pt x="3930" y="1288"/>
                      <a:pt x="3935" y="1297"/>
                    </a:cubicBezTo>
                    <a:cubicBezTo>
                      <a:pt x="3946" y="1317"/>
                      <a:pt x="3952" y="1363"/>
                      <a:pt x="3976" y="1360"/>
                    </a:cubicBezTo>
                    <a:cubicBezTo>
                      <a:pt x="3982" y="1359"/>
                      <a:pt x="3983" y="1354"/>
                      <a:pt x="3989" y="1348"/>
                    </a:cubicBezTo>
                    <a:cubicBezTo>
                      <a:pt x="3992" y="1344"/>
                      <a:pt x="3998" y="1340"/>
                      <a:pt x="4002" y="1335"/>
                    </a:cubicBezTo>
                    <a:cubicBezTo>
                      <a:pt x="4004" y="1332"/>
                      <a:pt x="4005" y="1326"/>
                      <a:pt x="4009" y="1322"/>
                    </a:cubicBezTo>
                    <a:cubicBezTo>
                      <a:pt x="4012" y="1317"/>
                      <a:pt x="4017" y="1315"/>
                      <a:pt x="4018" y="1311"/>
                    </a:cubicBezTo>
                    <a:cubicBezTo>
                      <a:pt x="4019" y="1303"/>
                      <a:pt x="4016" y="1296"/>
                      <a:pt x="4016" y="1289"/>
                    </a:cubicBezTo>
                    <a:cubicBezTo>
                      <a:pt x="4017" y="1280"/>
                      <a:pt x="4023" y="1273"/>
                      <a:pt x="4024" y="1265"/>
                    </a:cubicBezTo>
                    <a:cubicBezTo>
                      <a:pt x="4026" y="1247"/>
                      <a:pt x="4017" y="1233"/>
                      <a:pt x="4018" y="1215"/>
                    </a:cubicBezTo>
                    <a:cubicBezTo>
                      <a:pt x="4026" y="1199"/>
                      <a:pt x="4044" y="1198"/>
                      <a:pt x="4055" y="1187"/>
                    </a:cubicBezTo>
                    <a:cubicBezTo>
                      <a:pt x="4060" y="1183"/>
                      <a:pt x="4061" y="1176"/>
                      <a:pt x="4065" y="1171"/>
                    </a:cubicBezTo>
                    <a:cubicBezTo>
                      <a:pt x="4071" y="1166"/>
                      <a:pt x="4079" y="1163"/>
                      <a:pt x="4084" y="1157"/>
                    </a:cubicBezTo>
                    <a:cubicBezTo>
                      <a:pt x="4096" y="1145"/>
                      <a:pt x="4104" y="1131"/>
                      <a:pt x="4115" y="1123"/>
                    </a:cubicBezTo>
                    <a:cubicBezTo>
                      <a:pt x="4123" y="1118"/>
                      <a:pt x="4136" y="1118"/>
                      <a:pt x="4139" y="1106"/>
                    </a:cubicBezTo>
                    <a:cubicBezTo>
                      <a:pt x="4136" y="1079"/>
                      <a:pt x="4155" y="1085"/>
                      <a:pt x="4177" y="1083"/>
                    </a:cubicBezTo>
                    <a:cubicBezTo>
                      <a:pt x="4184" y="1083"/>
                      <a:pt x="4200" y="1080"/>
                      <a:pt x="4207" y="1078"/>
                    </a:cubicBezTo>
                    <a:cubicBezTo>
                      <a:pt x="4214" y="1076"/>
                      <a:pt x="4221" y="1067"/>
                      <a:pt x="4227" y="1068"/>
                    </a:cubicBezTo>
                    <a:cubicBezTo>
                      <a:pt x="4234" y="1069"/>
                      <a:pt x="4235" y="1080"/>
                      <a:pt x="4239" y="1089"/>
                    </a:cubicBezTo>
                    <a:cubicBezTo>
                      <a:pt x="4242" y="1095"/>
                      <a:pt x="4249" y="1103"/>
                      <a:pt x="4255" y="1109"/>
                    </a:cubicBezTo>
                    <a:cubicBezTo>
                      <a:pt x="4261" y="1115"/>
                      <a:pt x="4271" y="1119"/>
                      <a:pt x="4276" y="1125"/>
                    </a:cubicBezTo>
                    <a:cubicBezTo>
                      <a:pt x="4279" y="1128"/>
                      <a:pt x="4280" y="1134"/>
                      <a:pt x="4283" y="1138"/>
                    </a:cubicBezTo>
                    <a:cubicBezTo>
                      <a:pt x="4291" y="1148"/>
                      <a:pt x="4301" y="1154"/>
                      <a:pt x="4302" y="1169"/>
                    </a:cubicBezTo>
                    <a:cubicBezTo>
                      <a:pt x="4302" y="1177"/>
                      <a:pt x="4297" y="1184"/>
                      <a:pt x="4299" y="1190"/>
                    </a:cubicBezTo>
                    <a:cubicBezTo>
                      <a:pt x="4300" y="1198"/>
                      <a:pt x="4310" y="1204"/>
                      <a:pt x="4317" y="1204"/>
                    </a:cubicBezTo>
                    <a:cubicBezTo>
                      <a:pt x="4332" y="1204"/>
                      <a:pt x="4343" y="1181"/>
                      <a:pt x="4354" y="1183"/>
                    </a:cubicBezTo>
                    <a:cubicBezTo>
                      <a:pt x="4365" y="1184"/>
                      <a:pt x="4370" y="1209"/>
                      <a:pt x="4374" y="1222"/>
                    </a:cubicBezTo>
                    <a:cubicBezTo>
                      <a:pt x="4377" y="1230"/>
                      <a:pt x="4380" y="1236"/>
                      <a:pt x="4383" y="1243"/>
                    </a:cubicBezTo>
                    <a:cubicBezTo>
                      <a:pt x="4386" y="1249"/>
                      <a:pt x="4391" y="1256"/>
                      <a:pt x="4393" y="1263"/>
                    </a:cubicBezTo>
                    <a:cubicBezTo>
                      <a:pt x="4395" y="1271"/>
                      <a:pt x="4393" y="1281"/>
                      <a:pt x="4394" y="1290"/>
                    </a:cubicBezTo>
                    <a:cubicBezTo>
                      <a:pt x="4395" y="1294"/>
                      <a:pt x="4398" y="1298"/>
                      <a:pt x="4398" y="1302"/>
                    </a:cubicBezTo>
                    <a:cubicBezTo>
                      <a:pt x="4398" y="1320"/>
                      <a:pt x="4392" y="1337"/>
                      <a:pt x="4393" y="1352"/>
                    </a:cubicBezTo>
                    <a:cubicBezTo>
                      <a:pt x="4394" y="1363"/>
                      <a:pt x="4408" y="1367"/>
                      <a:pt x="4416" y="1374"/>
                    </a:cubicBezTo>
                    <a:cubicBezTo>
                      <a:pt x="4425" y="1383"/>
                      <a:pt x="4437" y="1400"/>
                      <a:pt x="4440" y="1410"/>
                    </a:cubicBezTo>
                    <a:cubicBezTo>
                      <a:pt x="4444" y="1422"/>
                      <a:pt x="4443" y="1434"/>
                      <a:pt x="4447" y="1444"/>
                    </a:cubicBezTo>
                    <a:cubicBezTo>
                      <a:pt x="4449" y="1448"/>
                      <a:pt x="4453" y="1452"/>
                      <a:pt x="4456" y="1457"/>
                    </a:cubicBezTo>
                    <a:cubicBezTo>
                      <a:pt x="4466" y="1473"/>
                      <a:pt x="4473" y="1481"/>
                      <a:pt x="4488" y="1490"/>
                    </a:cubicBezTo>
                    <a:cubicBezTo>
                      <a:pt x="4497" y="1496"/>
                      <a:pt x="4506" y="1503"/>
                      <a:pt x="4517" y="1505"/>
                    </a:cubicBezTo>
                    <a:cubicBezTo>
                      <a:pt x="4528" y="1490"/>
                      <a:pt x="4510" y="1480"/>
                      <a:pt x="4506" y="1466"/>
                    </a:cubicBezTo>
                    <a:cubicBezTo>
                      <a:pt x="4503" y="1453"/>
                      <a:pt x="4507" y="1440"/>
                      <a:pt x="4503" y="1428"/>
                    </a:cubicBezTo>
                    <a:cubicBezTo>
                      <a:pt x="4498" y="1418"/>
                      <a:pt x="4478" y="1400"/>
                      <a:pt x="4466" y="1391"/>
                    </a:cubicBezTo>
                    <a:cubicBezTo>
                      <a:pt x="4460" y="1387"/>
                      <a:pt x="4451" y="1386"/>
                      <a:pt x="4446" y="1381"/>
                    </a:cubicBezTo>
                    <a:cubicBezTo>
                      <a:pt x="4438" y="1374"/>
                      <a:pt x="4437" y="1359"/>
                      <a:pt x="4429" y="1346"/>
                    </a:cubicBezTo>
                    <a:cubicBezTo>
                      <a:pt x="4424" y="1339"/>
                      <a:pt x="4415" y="1333"/>
                      <a:pt x="4413" y="1325"/>
                    </a:cubicBezTo>
                    <a:cubicBezTo>
                      <a:pt x="4410" y="1307"/>
                      <a:pt x="4421" y="1295"/>
                      <a:pt x="4423" y="1280"/>
                    </a:cubicBezTo>
                    <a:cubicBezTo>
                      <a:pt x="4426" y="1264"/>
                      <a:pt x="4423" y="1254"/>
                      <a:pt x="4432" y="1254"/>
                    </a:cubicBezTo>
                    <a:cubicBezTo>
                      <a:pt x="4438" y="1254"/>
                      <a:pt x="4443" y="1265"/>
                      <a:pt x="4449" y="1268"/>
                    </a:cubicBezTo>
                    <a:cubicBezTo>
                      <a:pt x="4459" y="1274"/>
                      <a:pt x="4470" y="1275"/>
                      <a:pt x="4478" y="1283"/>
                    </a:cubicBezTo>
                    <a:cubicBezTo>
                      <a:pt x="4484" y="1289"/>
                      <a:pt x="4488" y="1300"/>
                      <a:pt x="4496" y="1306"/>
                    </a:cubicBezTo>
                    <a:cubicBezTo>
                      <a:pt x="4506" y="1315"/>
                      <a:pt x="4522" y="1318"/>
                      <a:pt x="4525" y="1326"/>
                    </a:cubicBezTo>
                    <a:cubicBezTo>
                      <a:pt x="4527" y="1332"/>
                      <a:pt x="4522" y="1345"/>
                      <a:pt x="4530" y="1348"/>
                    </a:cubicBezTo>
                    <a:cubicBezTo>
                      <a:pt x="4551" y="1346"/>
                      <a:pt x="4556" y="1324"/>
                      <a:pt x="4568" y="1316"/>
                    </a:cubicBezTo>
                    <a:cubicBezTo>
                      <a:pt x="4584" y="1307"/>
                      <a:pt x="4604" y="1303"/>
                      <a:pt x="4612" y="1286"/>
                    </a:cubicBezTo>
                    <a:cubicBezTo>
                      <a:pt x="4617" y="1219"/>
                      <a:pt x="4584" y="1202"/>
                      <a:pt x="4553" y="1175"/>
                    </a:cubicBezTo>
                    <a:cubicBezTo>
                      <a:pt x="4544" y="1167"/>
                      <a:pt x="4520" y="1142"/>
                      <a:pt x="4520" y="1130"/>
                    </a:cubicBezTo>
                    <a:cubicBezTo>
                      <a:pt x="4521" y="1114"/>
                      <a:pt x="4555" y="1084"/>
                      <a:pt x="4570" y="1083"/>
                    </a:cubicBezTo>
                    <a:cubicBezTo>
                      <a:pt x="4586" y="1082"/>
                      <a:pt x="4601" y="1096"/>
                      <a:pt x="4599" y="1110"/>
                    </a:cubicBezTo>
                    <a:cubicBezTo>
                      <a:pt x="4597" y="1118"/>
                      <a:pt x="4580" y="1124"/>
                      <a:pt x="4581" y="1137"/>
                    </a:cubicBezTo>
                    <a:cubicBezTo>
                      <a:pt x="4581" y="1149"/>
                      <a:pt x="4595" y="1153"/>
                      <a:pt x="4602" y="1152"/>
                    </a:cubicBezTo>
                    <a:cubicBezTo>
                      <a:pt x="4611" y="1151"/>
                      <a:pt x="4623" y="1137"/>
                      <a:pt x="4622" y="1123"/>
                    </a:cubicBezTo>
                    <a:cubicBezTo>
                      <a:pt x="4621" y="1114"/>
                      <a:pt x="4609" y="1109"/>
                      <a:pt x="4610" y="1100"/>
                    </a:cubicBezTo>
                    <a:cubicBezTo>
                      <a:pt x="4611" y="1082"/>
                      <a:pt x="4637" y="1085"/>
                      <a:pt x="4652" y="1080"/>
                    </a:cubicBezTo>
                    <a:cubicBezTo>
                      <a:pt x="4658" y="1078"/>
                      <a:pt x="4663" y="1071"/>
                      <a:pt x="4670" y="1069"/>
                    </a:cubicBezTo>
                    <a:cubicBezTo>
                      <a:pt x="4695" y="1061"/>
                      <a:pt x="4723" y="1056"/>
                      <a:pt x="4745" y="1039"/>
                    </a:cubicBezTo>
                    <a:cubicBezTo>
                      <a:pt x="4768" y="1020"/>
                      <a:pt x="4776" y="993"/>
                      <a:pt x="4784" y="958"/>
                    </a:cubicBezTo>
                    <a:cubicBezTo>
                      <a:pt x="4799" y="951"/>
                      <a:pt x="4791" y="933"/>
                      <a:pt x="4794" y="914"/>
                    </a:cubicBezTo>
                    <a:cubicBezTo>
                      <a:pt x="4791" y="906"/>
                      <a:pt x="4779" y="907"/>
                      <a:pt x="4776" y="899"/>
                    </a:cubicBezTo>
                    <a:cubicBezTo>
                      <a:pt x="4775" y="894"/>
                      <a:pt x="4779" y="892"/>
                      <a:pt x="4778" y="886"/>
                    </a:cubicBezTo>
                    <a:cubicBezTo>
                      <a:pt x="4772" y="881"/>
                      <a:pt x="4773" y="872"/>
                      <a:pt x="4768" y="865"/>
                    </a:cubicBezTo>
                    <a:cubicBezTo>
                      <a:pt x="4766" y="862"/>
                      <a:pt x="4758" y="859"/>
                      <a:pt x="4754" y="854"/>
                    </a:cubicBezTo>
                    <a:cubicBezTo>
                      <a:pt x="4743" y="842"/>
                      <a:pt x="4732" y="826"/>
                      <a:pt x="4725" y="820"/>
                    </a:cubicBezTo>
                    <a:cubicBezTo>
                      <a:pt x="4715" y="813"/>
                      <a:pt x="4703" y="812"/>
                      <a:pt x="4703" y="801"/>
                    </a:cubicBezTo>
                    <a:cubicBezTo>
                      <a:pt x="4703" y="783"/>
                      <a:pt x="4733" y="773"/>
                      <a:pt x="4739" y="760"/>
                    </a:cubicBezTo>
                    <a:cubicBezTo>
                      <a:pt x="4730" y="755"/>
                      <a:pt x="4719" y="749"/>
                      <a:pt x="4706" y="750"/>
                    </a:cubicBezTo>
                    <a:cubicBezTo>
                      <a:pt x="4698" y="751"/>
                      <a:pt x="4692" y="759"/>
                      <a:pt x="4684" y="759"/>
                    </a:cubicBezTo>
                    <a:cubicBezTo>
                      <a:pt x="4675" y="758"/>
                      <a:pt x="4674" y="746"/>
                      <a:pt x="4663" y="742"/>
                    </a:cubicBezTo>
                    <a:cubicBezTo>
                      <a:pt x="4652" y="737"/>
                      <a:pt x="4637" y="740"/>
                      <a:pt x="4639" y="728"/>
                    </a:cubicBezTo>
                    <a:cubicBezTo>
                      <a:pt x="4639" y="721"/>
                      <a:pt x="4650" y="720"/>
                      <a:pt x="4656" y="715"/>
                    </a:cubicBezTo>
                    <a:cubicBezTo>
                      <a:pt x="4666" y="708"/>
                      <a:pt x="4676" y="685"/>
                      <a:pt x="4691" y="686"/>
                    </a:cubicBezTo>
                    <a:cubicBezTo>
                      <a:pt x="4711" y="688"/>
                      <a:pt x="4691" y="712"/>
                      <a:pt x="4708" y="722"/>
                    </a:cubicBezTo>
                    <a:cubicBezTo>
                      <a:pt x="4719" y="720"/>
                      <a:pt x="4723" y="710"/>
                      <a:pt x="4735" y="708"/>
                    </a:cubicBezTo>
                    <a:cubicBezTo>
                      <a:pt x="4751" y="704"/>
                      <a:pt x="4771" y="710"/>
                      <a:pt x="4776" y="722"/>
                    </a:cubicBezTo>
                    <a:cubicBezTo>
                      <a:pt x="4779" y="731"/>
                      <a:pt x="4777" y="741"/>
                      <a:pt x="4786" y="745"/>
                    </a:cubicBezTo>
                    <a:cubicBezTo>
                      <a:pt x="4800" y="753"/>
                      <a:pt x="4811" y="746"/>
                      <a:pt x="4818" y="758"/>
                    </a:cubicBezTo>
                    <a:cubicBezTo>
                      <a:pt x="4821" y="762"/>
                      <a:pt x="4820" y="767"/>
                      <a:pt x="4822" y="771"/>
                    </a:cubicBezTo>
                    <a:cubicBezTo>
                      <a:pt x="4825" y="778"/>
                      <a:pt x="4832" y="782"/>
                      <a:pt x="4834" y="790"/>
                    </a:cubicBezTo>
                    <a:cubicBezTo>
                      <a:pt x="4837" y="801"/>
                      <a:pt x="4832" y="813"/>
                      <a:pt x="4845" y="817"/>
                    </a:cubicBezTo>
                    <a:cubicBezTo>
                      <a:pt x="4858" y="821"/>
                      <a:pt x="4890" y="806"/>
                      <a:pt x="4891" y="794"/>
                    </a:cubicBezTo>
                    <a:cubicBezTo>
                      <a:pt x="4891" y="786"/>
                      <a:pt x="4882" y="771"/>
                      <a:pt x="4876" y="763"/>
                    </a:cubicBezTo>
                    <a:cubicBezTo>
                      <a:pt x="4867" y="751"/>
                      <a:pt x="4849" y="736"/>
                      <a:pt x="4839" y="730"/>
                    </a:cubicBezTo>
                    <a:cubicBezTo>
                      <a:pt x="4832" y="725"/>
                      <a:pt x="4818" y="723"/>
                      <a:pt x="4817" y="712"/>
                    </a:cubicBezTo>
                    <a:cubicBezTo>
                      <a:pt x="4817" y="700"/>
                      <a:pt x="4833" y="698"/>
                      <a:pt x="4836" y="686"/>
                    </a:cubicBezTo>
                    <a:cubicBezTo>
                      <a:pt x="4838" y="679"/>
                      <a:pt x="4835" y="675"/>
                      <a:pt x="4834" y="664"/>
                    </a:cubicBezTo>
                    <a:cubicBezTo>
                      <a:pt x="4842" y="654"/>
                      <a:pt x="4845" y="641"/>
                      <a:pt x="4858" y="641"/>
                    </a:cubicBezTo>
                    <a:cubicBezTo>
                      <a:pt x="4867" y="640"/>
                      <a:pt x="4871" y="648"/>
                      <a:pt x="4881" y="647"/>
                    </a:cubicBezTo>
                    <a:cubicBezTo>
                      <a:pt x="4891" y="647"/>
                      <a:pt x="4905" y="635"/>
                      <a:pt x="4910" y="625"/>
                    </a:cubicBezTo>
                    <a:cubicBezTo>
                      <a:pt x="4912" y="620"/>
                      <a:pt x="4913" y="610"/>
                      <a:pt x="4915" y="602"/>
                    </a:cubicBezTo>
                    <a:cubicBezTo>
                      <a:pt x="4918" y="594"/>
                      <a:pt x="4922" y="587"/>
                      <a:pt x="4923" y="580"/>
                    </a:cubicBezTo>
                    <a:cubicBezTo>
                      <a:pt x="4924" y="574"/>
                      <a:pt x="4922" y="567"/>
                      <a:pt x="4922" y="559"/>
                    </a:cubicBezTo>
                    <a:cubicBezTo>
                      <a:pt x="4922" y="548"/>
                      <a:pt x="4927" y="536"/>
                      <a:pt x="4926" y="529"/>
                    </a:cubicBezTo>
                    <a:cubicBezTo>
                      <a:pt x="4926" y="519"/>
                      <a:pt x="4916" y="505"/>
                      <a:pt x="4908" y="496"/>
                    </a:cubicBezTo>
                    <a:cubicBezTo>
                      <a:pt x="4905" y="491"/>
                      <a:pt x="4883" y="470"/>
                      <a:pt x="4897" y="464"/>
                    </a:cubicBezTo>
                    <a:cubicBezTo>
                      <a:pt x="4905" y="462"/>
                      <a:pt x="4916" y="474"/>
                      <a:pt x="4920" y="478"/>
                    </a:cubicBezTo>
                    <a:cubicBezTo>
                      <a:pt x="4927" y="486"/>
                      <a:pt x="4932" y="492"/>
                      <a:pt x="4936" y="498"/>
                    </a:cubicBezTo>
                    <a:cubicBezTo>
                      <a:pt x="4949" y="513"/>
                      <a:pt x="4953" y="530"/>
                      <a:pt x="4971" y="537"/>
                    </a:cubicBezTo>
                    <a:cubicBezTo>
                      <a:pt x="4976" y="532"/>
                      <a:pt x="4971" y="527"/>
                      <a:pt x="4973" y="520"/>
                    </a:cubicBezTo>
                    <a:cubicBezTo>
                      <a:pt x="4974" y="516"/>
                      <a:pt x="4979" y="513"/>
                      <a:pt x="4979" y="508"/>
                    </a:cubicBezTo>
                    <a:cubicBezTo>
                      <a:pt x="4978" y="502"/>
                      <a:pt x="4963" y="490"/>
                      <a:pt x="4958" y="486"/>
                    </a:cubicBezTo>
                    <a:cubicBezTo>
                      <a:pt x="4949" y="478"/>
                      <a:pt x="4939" y="473"/>
                      <a:pt x="4932" y="467"/>
                    </a:cubicBezTo>
                    <a:cubicBezTo>
                      <a:pt x="4913" y="450"/>
                      <a:pt x="4904" y="430"/>
                      <a:pt x="4885" y="424"/>
                    </a:cubicBezTo>
                    <a:cubicBezTo>
                      <a:pt x="4875" y="428"/>
                      <a:pt x="4880" y="435"/>
                      <a:pt x="4869" y="435"/>
                    </a:cubicBezTo>
                    <a:cubicBezTo>
                      <a:pt x="4864" y="436"/>
                      <a:pt x="4852" y="428"/>
                      <a:pt x="4845" y="424"/>
                    </a:cubicBezTo>
                    <a:cubicBezTo>
                      <a:pt x="4837" y="420"/>
                      <a:pt x="4830" y="414"/>
                      <a:pt x="4819" y="414"/>
                    </a:cubicBezTo>
                    <a:cubicBezTo>
                      <a:pt x="4814" y="414"/>
                      <a:pt x="4805" y="422"/>
                      <a:pt x="4798" y="422"/>
                    </a:cubicBezTo>
                    <a:cubicBezTo>
                      <a:pt x="4787" y="422"/>
                      <a:pt x="4771" y="407"/>
                      <a:pt x="4761" y="405"/>
                    </a:cubicBezTo>
                    <a:cubicBezTo>
                      <a:pt x="4756" y="405"/>
                      <a:pt x="4753" y="408"/>
                      <a:pt x="4749" y="406"/>
                    </a:cubicBezTo>
                    <a:cubicBezTo>
                      <a:pt x="4730" y="401"/>
                      <a:pt x="4751" y="382"/>
                      <a:pt x="4754" y="377"/>
                    </a:cubicBezTo>
                    <a:cubicBezTo>
                      <a:pt x="4756" y="372"/>
                      <a:pt x="4755" y="365"/>
                      <a:pt x="4757" y="362"/>
                    </a:cubicBezTo>
                    <a:cubicBezTo>
                      <a:pt x="4758" y="358"/>
                      <a:pt x="4764" y="353"/>
                      <a:pt x="4766" y="346"/>
                    </a:cubicBezTo>
                    <a:cubicBezTo>
                      <a:pt x="4767" y="342"/>
                      <a:pt x="4766" y="336"/>
                      <a:pt x="4768" y="332"/>
                    </a:cubicBezTo>
                    <a:cubicBezTo>
                      <a:pt x="4780" y="301"/>
                      <a:pt x="4832" y="325"/>
                      <a:pt x="4867" y="318"/>
                    </a:cubicBezTo>
                    <a:cubicBezTo>
                      <a:pt x="4873" y="317"/>
                      <a:pt x="4880" y="311"/>
                      <a:pt x="4888" y="311"/>
                    </a:cubicBezTo>
                    <a:cubicBezTo>
                      <a:pt x="4905" y="310"/>
                      <a:pt x="4914" y="324"/>
                      <a:pt x="4932" y="325"/>
                    </a:cubicBezTo>
                    <a:cubicBezTo>
                      <a:pt x="4938" y="326"/>
                      <a:pt x="4968" y="324"/>
                      <a:pt x="4969" y="317"/>
                    </a:cubicBezTo>
                    <a:cubicBezTo>
                      <a:pt x="4970" y="311"/>
                      <a:pt x="4956" y="305"/>
                      <a:pt x="4955" y="301"/>
                    </a:cubicBezTo>
                    <a:cubicBezTo>
                      <a:pt x="4952" y="284"/>
                      <a:pt x="4965" y="271"/>
                      <a:pt x="4973" y="269"/>
                    </a:cubicBezTo>
                    <a:cubicBezTo>
                      <a:pt x="5007" y="261"/>
                      <a:pt x="5009" y="290"/>
                      <a:pt x="5030" y="288"/>
                    </a:cubicBezTo>
                    <a:cubicBezTo>
                      <a:pt x="5037" y="288"/>
                      <a:pt x="5045" y="279"/>
                      <a:pt x="5047" y="273"/>
                    </a:cubicBezTo>
                    <a:cubicBezTo>
                      <a:pt x="5048" y="267"/>
                      <a:pt x="5041" y="260"/>
                      <a:pt x="5048" y="257"/>
                    </a:cubicBezTo>
                    <a:cubicBezTo>
                      <a:pt x="5056" y="259"/>
                      <a:pt x="5072" y="275"/>
                      <a:pt x="5072" y="284"/>
                    </a:cubicBezTo>
                    <a:cubicBezTo>
                      <a:pt x="5073" y="292"/>
                      <a:pt x="5062" y="304"/>
                      <a:pt x="5061" y="317"/>
                    </a:cubicBezTo>
                    <a:cubicBezTo>
                      <a:pt x="5061" y="322"/>
                      <a:pt x="5063" y="327"/>
                      <a:pt x="5062" y="331"/>
                    </a:cubicBezTo>
                    <a:cubicBezTo>
                      <a:pt x="5060" y="339"/>
                      <a:pt x="5048" y="344"/>
                      <a:pt x="5048" y="350"/>
                    </a:cubicBezTo>
                    <a:cubicBezTo>
                      <a:pt x="5052" y="387"/>
                      <a:pt x="5089" y="410"/>
                      <a:pt x="5113" y="428"/>
                    </a:cubicBezTo>
                    <a:cubicBezTo>
                      <a:pt x="5136" y="445"/>
                      <a:pt x="5155" y="464"/>
                      <a:pt x="5176" y="478"/>
                    </a:cubicBezTo>
                    <a:cubicBezTo>
                      <a:pt x="5181" y="476"/>
                      <a:pt x="5186" y="471"/>
                      <a:pt x="5186" y="466"/>
                    </a:cubicBezTo>
                    <a:cubicBezTo>
                      <a:pt x="5187" y="459"/>
                      <a:pt x="5181" y="454"/>
                      <a:pt x="5181" y="447"/>
                    </a:cubicBezTo>
                    <a:cubicBezTo>
                      <a:pt x="5180" y="441"/>
                      <a:pt x="5184" y="437"/>
                      <a:pt x="5184" y="432"/>
                    </a:cubicBezTo>
                    <a:cubicBezTo>
                      <a:pt x="5183" y="425"/>
                      <a:pt x="5177" y="424"/>
                      <a:pt x="5177" y="419"/>
                    </a:cubicBezTo>
                    <a:cubicBezTo>
                      <a:pt x="5179" y="411"/>
                      <a:pt x="5189" y="412"/>
                      <a:pt x="5188" y="404"/>
                    </a:cubicBezTo>
                    <a:cubicBezTo>
                      <a:pt x="5188" y="398"/>
                      <a:pt x="5173" y="396"/>
                      <a:pt x="5172" y="386"/>
                    </a:cubicBezTo>
                    <a:cubicBezTo>
                      <a:pt x="5171" y="381"/>
                      <a:pt x="5175" y="380"/>
                      <a:pt x="5174" y="372"/>
                    </a:cubicBezTo>
                    <a:cubicBezTo>
                      <a:pt x="5171" y="366"/>
                      <a:pt x="5165" y="366"/>
                      <a:pt x="5159" y="362"/>
                    </a:cubicBezTo>
                    <a:cubicBezTo>
                      <a:pt x="5153" y="356"/>
                      <a:pt x="5148" y="347"/>
                      <a:pt x="5140" y="344"/>
                    </a:cubicBezTo>
                    <a:cubicBezTo>
                      <a:pt x="5134" y="341"/>
                      <a:pt x="5127" y="344"/>
                      <a:pt x="5122" y="341"/>
                    </a:cubicBezTo>
                    <a:cubicBezTo>
                      <a:pt x="5113" y="335"/>
                      <a:pt x="5116" y="321"/>
                      <a:pt x="5111" y="311"/>
                    </a:cubicBezTo>
                    <a:cubicBezTo>
                      <a:pt x="5119" y="296"/>
                      <a:pt x="5135" y="305"/>
                      <a:pt x="5147" y="303"/>
                    </a:cubicBezTo>
                    <a:cubicBezTo>
                      <a:pt x="5152" y="302"/>
                      <a:pt x="5157" y="295"/>
                      <a:pt x="5163" y="294"/>
                    </a:cubicBezTo>
                    <a:cubicBezTo>
                      <a:pt x="5178" y="291"/>
                      <a:pt x="5193" y="302"/>
                      <a:pt x="5203" y="301"/>
                    </a:cubicBezTo>
                    <a:cubicBezTo>
                      <a:pt x="5211" y="299"/>
                      <a:pt x="5218" y="281"/>
                      <a:pt x="5225" y="274"/>
                    </a:cubicBezTo>
                    <a:cubicBezTo>
                      <a:pt x="5232" y="268"/>
                      <a:pt x="5249" y="257"/>
                      <a:pt x="5259" y="256"/>
                    </a:cubicBezTo>
                    <a:cubicBezTo>
                      <a:pt x="5265" y="255"/>
                      <a:pt x="5274" y="261"/>
                      <a:pt x="5282" y="255"/>
                    </a:cubicBezTo>
                    <a:cubicBezTo>
                      <a:pt x="5278" y="236"/>
                      <a:pt x="5229" y="237"/>
                      <a:pt x="5227" y="218"/>
                    </a:cubicBezTo>
                    <a:cubicBezTo>
                      <a:pt x="5227" y="211"/>
                      <a:pt x="5234" y="204"/>
                      <a:pt x="5241" y="202"/>
                    </a:cubicBezTo>
                    <a:cubicBezTo>
                      <a:pt x="5282" y="192"/>
                      <a:pt x="5315" y="228"/>
                      <a:pt x="5355" y="219"/>
                    </a:cubicBezTo>
                    <a:cubicBezTo>
                      <a:pt x="5358" y="188"/>
                      <a:pt x="5318" y="174"/>
                      <a:pt x="5284" y="173"/>
                    </a:cubicBezTo>
                    <a:cubicBezTo>
                      <a:pt x="5278" y="173"/>
                      <a:pt x="5273" y="176"/>
                      <a:pt x="5268" y="176"/>
                    </a:cubicBezTo>
                    <a:close/>
                    <a:moveTo>
                      <a:pt x="4280" y="454"/>
                    </a:moveTo>
                    <a:cubicBezTo>
                      <a:pt x="4274" y="459"/>
                      <a:pt x="4271" y="468"/>
                      <a:pt x="4264" y="463"/>
                    </a:cubicBezTo>
                    <a:cubicBezTo>
                      <a:pt x="4265" y="455"/>
                      <a:pt x="4272" y="453"/>
                      <a:pt x="4276" y="448"/>
                    </a:cubicBezTo>
                    <a:cubicBezTo>
                      <a:pt x="4275" y="436"/>
                      <a:pt x="4287" y="429"/>
                      <a:pt x="4288" y="418"/>
                    </a:cubicBezTo>
                    <a:cubicBezTo>
                      <a:pt x="4289" y="410"/>
                      <a:pt x="4280" y="396"/>
                      <a:pt x="4293" y="394"/>
                    </a:cubicBezTo>
                    <a:cubicBezTo>
                      <a:pt x="4302" y="404"/>
                      <a:pt x="4308" y="418"/>
                      <a:pt x="4304" y="432"/>
                    </a:cubicBezTo>
                    <a:cubicBezTo>
                      <a:pt x="4301" y="442"/>
                      <a:pt x="4288" y="446"/>
                      <a:pt x="4280" y="454"/>
                    </a:cubicBezTo>
                    <a:close/>
                    <a:moveTo>
                      <a:pt x="3977" y="64"/>
                    </a:moveTo>
                    <a:cubicBezTo>
                      <a:pt x="3975" y="58"/>
                      <a:pt x="3983" y="56"/>
                      <a:pt x="3987" y="54"/>
                    </a:cubicBezTo>
                    <a:cubicBezTo>
                      <a:pt x="3995" y="50"/>
                      <a:pt x="4000" y="45"/>
                      <a:pt x="4012" y="45"/>
                    </a:cubicBezTo>
                    <a:cubicBezTo>
                      <a:pt x="4009" y="58"/>
                      <a:pt x="3988" y="63"/>
                      <a:pt x="3977" y="64"/>
                    </a:cubicBezTo>
                    <a:close/>
                    <a:moveTo>
                      <a:pt x="3767" y="582"/>
                    </a:moveTo>
                    <a:cubicBezTo>
                      <a:pt x="3762" y="574"/>
                      <a:pt x="3774" y="563"/>
                      <a:pt x="3778" y="571"/>
                    </a:cubicBezTo>
                    <a:cubicBezTo>
                      <a:pt x="3777" y="578"/>
                      <a:pt x="3774" y="582"/>
                      <a:pt x="3767" y="582"/>
                    </a:cubicBezTo>
                    <a:close/>
                    <a:moveTo>
                      <a:pt x="3549" y="159"/>
                    </a:moveTo>
                    <a:cubicBezTo>
                      <a:pt x="3550" y="139"/>
                      <a:pt x="3514" y="133"/>
                      <a:pt x="3516" y="109"/>
                    </a:cubicBezTo>
                    <a:cubicBezTo>
                      <a:pt x="3517" y="109"/>
                      <a:pt x="3517" y="107"/>
                      <a:pt x="3517" y="105"/>
                    </a:cubicBezTo>
                    <a:cubicBezTo>
                      <a:pt x="3533" y="102"/>
                      <a:pt x="3532" y="117"/>
                      <a:pt x="3539" y="128"/>
                    </a:cubicBezTo>
                    <a:cubicBezTo>
                      <a:pt x="3545" y="137"/>
                      <a:pt x="3558" y="138"/>
                      <a:pt x="3563" y="142"/>
                    </a:cubicBezTo>
                    <a:cubicBezTo>
                      <a:pt x="3580" y="159"/>
                      <a:pt x="3568" y="188"/>
                      <a:pt x="3541" y="182"/>
                    </a:cubicBezTo>
                    <a:cubicBezTo>
                      <a:pt x="3538" y="170"/>
                      <a:pt x="3549" y="169"/>
                      <a:pt x="3549" y="159"/>
                    </a:cubicBezTo>
                    <a:close/>
                    <a:moveTo>
                      <a:pt x="3505" y="588"/>
                    </a:moveTo>
                    <a:cubicBezTo>
                      <a:pt x="3518" y="585"/>
                      <a:pt x="3536" y="614"/>
                      <a:pt x="3518" y="617"/>
                    </a:cubicBezTo>
                    <a:cubicBezTo>
                      <a:pt x="3506" y="620"/>
                      <a:pt x="3487" y="593"/>
                      <a:pt x="3505" y="588"/>
                    </a:cubicBezTo>
                    <a:close/>
                    <a:moveTo>
                      <a:pt x="3402" y="772"/>
                    </a:moveTo>
                    <a:cubicBezTo>
                      <a:pt x="3390" y="772"/>
                      <a:pt x="3379" y="763"/>
                      <a:pt x="3367" y="758"/>
                    </a:cubicBezTo>
                    <a:cubicBezTo>
                      <a:pt x="3356" y="753"/>
                      <a:pt x="3343" y="752"/>
                      <a:pt x="3341" y="740"/>
                    </a:cubicBezTo>
                    <a:cubicBezTo>
                      <a:pt x="3339" y="734"/>
                      <a:pt x="3342" y="719"/>
                      <a:pt x="3344" y="712"/>
                    </a:cubicBezTo>
                    <a:cubicBezTo>
                      <a:pt x="3346" y="705"/>
                      <a:pt x="3352" y="704"/>
                      <a:pt x="3352" y="697"/>
                    </a:cubicBezTo>
                    <a:cubicBezTo>
                      <a:pt x="3351" y="690"/>
                      <a:pt x="3333" y="676"/>
                      <a:pt x="3326" y="670"/>
                    </a:cubicBezTo>
                    <a:cubicBezTo>
                      <a:pt x="3317" y="661"/>
                      <a:pt x="3304" y="654"/>
                      <a:pt x="3299" y="643"/>
                    </a:cubicBezTo>
                    <a:cubicBezTo>
                      <a:pt x="3298" y="639"/>
                      <a:pt x="3298" y="633"/>
                      <a:pt x="3296" y="628"/>
                    </a:cubicBezTo>
                    <a:cubicBezTo>
                      <a:pt x="3292" y="619"/>
                      <a:pt x="3282" y="615"/>
                      <a:pt x="3282" y="608"/>
                    </a:cubicBezTo>
                    <a:cubicBezTo>
                      <a:pt x="3281" y="603"/>
                      <a:pt x="3287" y="594"/>
                      <a:pt x="3292" y="590"/>
                    </a:cubicBezTo>
                    <a:cubicBezTo>
                      <a:pt x="3296" y="587"/>
                      <a:pt x="3306" y="582"/>
                      <a:pt x="3315" y="576"/>
                    </a:cubicBezTo>
                    <a:cubicBezTo>
                      <a:pt x="3333" y="563"/>
                      <a:pt x="3349" y="558"/>
                      <a:pt x="3377" y="565"/>
                    </a:cubicBezTo>
                    <a:cubicBezTo>
                      <a:pt x="3385" y="569"/>
                      <a:pt x="3390" y="587"/>
                      <a:pt x="3382" y="593"/>
                    </a:cubicBezTo>
                    <a:cubicBezTo>
                      <a:pt x="3364" y="592"/>
                      <a:pt x="3348" y="599"/>
                      <a:pt x="3347" y="612"/>
                    </a:cubicBezTo>
                    <a:cubicBezTo>
                      <a:pt x="3347" y="627"/>
                      <a:pt x="3378" y="643"/>
                      <a:pt x="3391" y="651"/>
                    </a:cubicBezTo>
                    <a:cubicBezTo>
                      <a:pt x="3392" y="658"/>
                      <a:pt x="3393" y="665"/>
                      <a:pt x="3397" y="669"/>
                    </a:cubicBezTo>
                    <a:cubicBezTo>
                      <a:pt x="3414" y="662"/>
                      <a:pt x="3431" y="672"/>
                      <a:pt x="3431" y="685"/>
                    </a:cubicBezTo>
                    <a:cubicBezTo>
                      <a:pt x="3427" y="694"/>
                      <a:pt x="3416" y="685"/>
                      <a:pt x="3409" y="689"/>
                    </a:cubicBezTo>
                    <a:cubicBezTo>
                      <a:pt x="3407" y="689"/>
                      <a:pt x="3408" y="692"/>
                      <a:pt x="3405" y="692"/>
                    </a:cubicBezTo>
                    <a:cubicBezTo>
                      <a:pt x="3411" y="719"/>
                      <a:pt x="3441" y="722"/>
                      <a:pt x="3435" y="761"/>
                    </a:cubicBezTo>
                    <a:cubicBezTo>
                      <a:pt x="3428" y="768"/>
                      <a:pt x="3415" y="773"/>
                      <a:pt x="3402" y="772"/>
                    </a:cubicBezTo>
                    <a:close/>
                    <a:moveTo>
                      <a:pt x="3134" y="683"/>
                    </a:moveTo>
                    <a:cubicBezTo>
                      <a:pt x="3103" y="682"/>
                      <a:pt x="3081" y="659"/>
                      <a:pt x="3045" y="661"/>
                    </a:cubicBezTo>
                    <a:cubicBezTo>
                      <a:pt x="3037" y="661"/>
                      <a:pt x="3030" y="663"/>
                      <a:pt x="3024" y="665"/>
                    </a:cubicBezTo>
                    <a:cubicBezTo>
                      <a:pt x="3014" y="669"/>
                      <a:pt x="3008" y="677"/>
                      <a:pt x="2999" y="679"/>
                    </a:cubicBezTo>
                    <a:cubicBezTo>
                      <a:pt x="2989" y="681"/>
                      <a:pt x="2973" y="676"/>
                      <a:pt x="2965" y="679"/>
                    </a:cubicBezTo>
                    <a:cubicBezTo>
                      <a:pt x="2955" y="682"/>
                      <a:pt x="2954" y="706"/>
                      <a:pt x="2934" y="690"/>
                    </a:cubicBezTo>
                    <a:cubicBezTo>
                      <a:pt x="2933" y="679"/>
                      <a:pt x="2946" y="684"/>
                      <a:pt x="2947" y="675"/>
                    </a:cubicBezTo>
                    <a:cubicBezTo>
                      <a:pt x="2946" y="667"/>
                      <a:pt x="2936" y="663"/>
                      <a:pt x="2935" y="653"/>
                    </a:cubicBezTo>
                    <a:cubicBezTo>
                      <a:pt x="2934" y="642"/>
                      <a:pt x="2944" y="637"/>
                      <a:pt x="2948" y="625"/>
                    </a:cubicBezTo>
                    <a:cubicBezTo>
                      <a:pt x="2949" y="621"/>
                      <a:pt x="2948" y="617"/>
                      <a:pt x="2949" y="614"/>
                    </a:cubicBezTo>
                    <a:cubicBezTo>
                      <a:pt x="2951" y="609"/>
                      <a:pt x="2957" y="607"/>
                      <a:pt x="2960" y="602"/>
                    </a:cubicBezTo>
                    <a:cubicBezTo>
                      <a:pt x="2967" y="592"/>
                      <a:pt x="2974" y="573"/>
                      <a:pt x="2987" y="571"/>
                    </a:cubicBezTo>
                    <a:cubicBezTo>
                      <a:pt x="3000" y="570"/>
                      <a:pt x="3007" y="581"/>
                      <a:pt x="3017" y="580"/>
                    </a:cubicBezTo>
                    <a:cubicBezTo>
                      <a:pt x="3025" y="590"/>
                      <a:pt x="3028" y="607"/>
                      <a:pt x="3042" y="609"/>
                    </a:cubicBezTo>
                    <a:cubicBezTo>
                      <a:pt x="3053" y="611"/>
                      <a:pt x="3067" y="601"/>
                      <a:pt x="3077" y="597"/>
                    </a:cubicBezTo>
                    <a:cubicBezTo>
                      <a:pt x="3075" y="587"/>
                      <a:pt x="3063" y="592"/>
                      <a:pt x="3062" y="583"/>
                    </a:cubicBezTo>
                    <a:cubicBezTo>
                      <a:pt x="3059" y="566"/>
                      <a:pt x="3096" y="560"/>
                      <a:pt x="3111" y="564"/>
                    </a:cubicBezTo>
                    <a:cubicBezTo>
                      <a:pt x="3120" y="582"/>
                      <a:pt x="3097" y="586"/>
                      <a:pt x="3098" y="596"/>
                    </a:cubicBezTo>
                    <a:cubicBezTo>
                      <a:pt x="3098" y="606"/>
                      <a:pt x="3128" y="615"/>
                      <a:pt x="3135" y="619"/>
                    </a:cubicBezTo>
                    <a:cubicBezTo>
                      <a:pt x="3149" y="628"/>
                      <a:pt x="3163" y="634"/>
                      <a:pt x="3174" y="641"/>
                    </a:cubicBezTo>
                    <a:cubicBezTo>
                      <a:pt x="3190" y="650"/>
                      <a:pt x="3204" y="675"/>
                      <a:pt x="3173" y="681"/>
                    </a:cubicBezTo>
                    <a:cubicBezTo>
                      <a:pt x="3163" y="683"/>
                      <a:pt x="3145" y="683"/>
                      <a:pt x="3134" y="683"/>
                    </a:cubicBezTo>
                    <a:close/>
                    <a:moveTo>
                      <a:pt x="3090" y="842"/>
                    </a:moveTo>
                    <a:cubicBezTo>
                      <a:pt x="3084" y="860"/>
                      <a:pt x="3088" y="878"/>
                      <a:pt x="3071" y="884"/>
                    </a:cubicBezTo>
                    <a:cubicBezTo>
                      <a:pt x="3048" y="892"/>
                      <a:pt x="3034" y="875"/>
                      <a:pt x="3013" y="876"/>
                    </a:cubicBezTo>
                    <a:cubicBezTo>
                      <a:pt x="3002" y="877"/>
                      <a:pt x="2993" y="888"/>
                      <a:pt x="2982" y="889"/>
                    </a:cubicBezTo>
                    <a:cubicBezTo>
                      <a:pt x="2963" y="892"/>
                      <a:pt x="2944" y="876"/>
                      <a:pt x="2922" y="874"/>
                    </a:cubicBezTo>
                    <a:cubicBezTo>
                      <a:pt x="2918" y="873"/>
                      <a:pt x="2912" y="875"/>
                      <a:pt x="2908" y="874"/>
                    </a:cubicBezTo>
                    <a:cubicBezTo>
                      <a:pt x="2903" y="872"/>
                      <a:pt x="2899" y="867"/>
                      <a:pt x="2893" y="865"/>
                    </a:cubicBezTo>
                    <a:cubicBezTo>
                      <a:pt x="2884" y="862"/>
                      <a:pt x="2877" y="864"/>
                      <a:pt x="2869" y="861"/>
                    </a:cubicBezTo>
                    <a:cubicBezTo>
                      <a:pt x="2858" y="842"/>
                      <a:pt x="2802" y="841"/>
                      <a:pt x="2798" y="869"/>
                    </a:cubicBezTo>
                    <a:cubicBezTo>
                      <a:pt x="2795" y="882"/>
                      <a:pt x="2804" y="899"/>
                      <a:pt x="2785" y="902"/>
                    </a:cubicBezTo>
                    <a:cubicBezTo>
                      <a:pt x="2773" y="903"/>
                      <a:pt x="2761" y="889"/>
                      <a:pt x="2745" y="886"/>
                    </a:cubicBezTo>
                    <a:cubicBezTo>
                      <a:pt x="2738" y="884"/>
                      <a:pt x="2729" y="886"/>
                      <a:pt x="2724" y="884"/>
                    </a:cubicBezTo>
                    <a:cubicBezTo>
                      <a:pt x="2712" y="880"/>
                      <a:pt x="2713" y="868"/>
                      <a:pt x="2703" y="860"/>
                    </a:cubicBezTo>
                    <a:cubicBezTo>
                      <a:pt x="2697" y="856"/>
                      <a:pt x="2681" y="850"/>
                      <a:pt x="2672" y="849"/>
                    </a:cubicBezTo>
                    <a:cubicBezTo>
                      <a:pt x="2666" y="849"/>
                      <a:pt x="2660" y="851"/>
                      <a:pt x="2654" y="850"/>
                    </a:cubicBezTo>
                    <a:cubicBezTo>
                      <a:pt x="2646" y="849"/>
                      <a:pt x="2636" y="844"/>
                      <a:pt x="2629" y="840"/>
                    </a:cubicBezTo>
                    <a:cubicBezTo>
                      <a:pt x="2623" y="837"/>
                      <a:pt x="2611" y="831"/>
                      <a:pt x="2609" y="826"/>
                    </a:cubicBezTo>
                    <a:cubicBezTo>
                      <a:pt x="2607" y="818"/>
                      <a:pt x="2624" y="808"/>
                      <a:pt x="2625" y="801"/>
                    </a:cubicBezTo>
                    <a:cubicBezTo>
                      <a:pt x="2625" y="796"/>
                      <a:pt x="2618" y="793"/>
                      <a:pt x="2617" y="784"/>
                    </a:cubicBezTo>
                    <a:cubicBezTo>
                      <a:pt x="2616" y="780"/>
                      <a:pt x="2619" y="774"/>
                      <a:pt x="2618" y="771"/>
                    </a:cubicBezTo>
                    <a:cubicBezTo>
                      <a:pt x="2616" y="765"/>
                      <a:pt x="2607" y="759"/>
                      <a:pt x="2598" y="759"/>
                    </a:cubicBezTo>
                    <a:cubicBezTo>
                      <a:pt x="2590" y="759"/>
                      <a:pt x="2582" y="765"/>
                      <a:pt x="2576" y="766"/>
                    </a:cubicBezTo>
                    <a:cubicBezTo>
                      <a:pt x="2566" y="766"/>
                      <a:pt x="2550" y="760"/>
                      <a:pt x="2538" y="761"/>
                    </a:cubicBezTo>
                    <a:cubicBezTo>
                      <a:pt x="2530" y="762"/>
                      <a:pt x="2523" y="766"/>
                      <a:pt x="2517" y="767"/>
                    </a:cubicBezTo>
                    <a:cubicBezTo>
                      <a:pt x="2497" y="768"/>
                      <a:pt x="2481" y="766"/>
                      <a:pt x="2466" y="767"/>
                    </a:cubicBezTo>
                    <a:cubicBezTo>
                      <a:pt x="2455" y="767"/>
                      <a:pt x="2436" y="771"/>
                      <a:pt x="2426" y="776"/>
                    </a:cubicBezTo>
                    <a:cubicBezTo>
                      <a:pt x="2421" y="778"/>
                      <a:pt x="2417" y="783"/>
                      <a:pt x="2411" y="787"/>
                    </a:cubicBezTo>
                    <a:cubicBezTo>
                      <a:pt x="2408" y="788"/>
                      <a:pt x="2403" y="788"/>
                      <a:pt x="2399" y="790"/>
                    </a:cubicBezTo>
                    <a:cubicBezTo>
                      <a:pt x="2393" y="793"/>
                      <a:pt x="2387" y="800"/>
                      <a:pt x="2380" y="801"/>
                    </a:cubicBezTo>
                    <a:cubicBezTo>
                      <a:pt x="2372" y="803"/>
                      <a:pt x="2358" y="799"/>
                      <a:pt x="2343" y="800"/>
                    </a:cubicBezTo>
                    <a:cubicBezTo>
                      <a:pt x="2331" y="801"/>
                      <a:pt x="2313" y="800"/>
                      <a:pt x="2312" y="787"/>
                    </a:cubicBezTo>
                    <a:cubicBezTo>
                      <a:pt x="2312" y="766"/>
                      <a:pt x="2348" y="774"/>
                      <a:pt x="2367" y="770"/>
                    </a:cubicBezTo>
                    <a:cubicBezTo>
                      <a:pt x="2374" y="769"/>
                      <a:pt x="2378" y="762"/>
                      <a:pt x="2387" y="757"/>
                    </a:cubicBezTo>
                    <a:cubicBezTo>
                      <a:pt x="2391" y="754"/>
                      <a:pt x="2397" y="754"/>
                      <a:pt x="2401" y="751"/>
                    </a:cubicBezTo>
                    <a:cubicBezTo>
                      <a:pt x="2407" y="746"/>
                      <a:pt x="2417" y="735"/>
                      <a:pt x="2418" y="730"/>
                    </a:cubicBezTo>
                    <a:cubicBezTo>
                      <a:pt x="2419" y="725"/>
                      <a:pt x="2416" y="718"/>
                      <a:pt x="2416" y="714"/>
                    </a:cubicBezTo>
                    <a:cubicBezTo>
                      <a:pt x="2417" y="710"/>
                      <a:pt x="2422" y="705"/>
                      <a:pt x="2428" y="699"/>
                    </a:cubicBezTo>
                    <a:cubicBezTo>
                      <a:pt x="2438" y="689"/>
                      <a:pt x="2448" y="677"/>
                      <a:pt x="2460" y="671"/>
                    </a:cubicBezTo>
                    <a:cubicBezTo>
                      <a:pt x="2468" y="667"/>
                      <a:pt x="2478" y="667"/>
                      <a:pt x="2482" y="661"/>
                    </a:cubicBezTo>
                    <a:cubicBezTo>
                      <a:pt x="2483" y="654"/>
                      <a:pt x="2481" y="649"/>
                      <a:pt x="2481" y="643"/>
                    </a:cubicBezTo>
                    <a:cubicBezTo>
                      <a:pt x="2486" y="638"/>
                      <a:pt x="2489" y="635"/>
                      <a:pt x="2493" y="634"/>
                    </a:cubicBezTo>
                    <a:cubicBezTo>
                      <a:pt x="2505" y="631"/>
                      <a:pt x="2517" y="642"/>
                      <a:pt x="2531" y="642"/>
                    </a:cubicBezTo>
                    <a:cubicBezTo>
                      <a:pt x="2537" y="641"/>
                      <a:pt x="2542" y="637"/>
                      <a:pt x="2549" y="633"/>
                    </a:cubicBezTo>
                    <a:cubicBezTo>
                      <a:pt x="2554" y="629"/>
                      <a:pt x="2560" y="627"/>
                      <a:pt x="2566" y="624"/>
                    </a:cubicBezTo>
                    <a:cubicBezTo>
                      <a:pt x="2571" y="621"/>
                      <a:pt x="2577" y="614"/>
                      <a:pt x="2585" y="614"/>
                    </a:cubicBezTo>
                    <a:cubicBezTo>
                      <a:pt x="2602" y="613"/>
                      <a:pt x="2609" y="632"/>
                      <a:pt x="2617" y="643"/>
                    </a:cubicBezTo>
                    <a:cubicBezTo>
                      <a:pt x="2624" y="652"/>
                      <a:pt x="2643" y="667"/>
                      <a:pt x="2654" y="673"/>
                    </a:cubicBezTo>
                    <a:cubicBezTo>
                      <a:pt x="2660" y="676"/>
                      <a:pt x="2668" y="677"/>
                      <a:pt x="2675" y="680"/>
                    </a:cubicBezTo>
                    <a:cubicBezTo>
                      <a:pt x="2689" y="686"/>
                      <a:pt x="2718" y="708"/>
                      <a:pt x="2718" y="722"/>
                    </a:cubicBezTo>
                    <a:cubicBezTo>
                      <a:pt x="2719" y="729"/>
                      <a:pt x="2712" y="734"/>
                      <a:pt x="2713" y="741"/>
                    </a:cubicBezTo>
                    <a:cubicBezTo>
                      <a:pt x="2724" y="743"/>
                      <a:pt x="2736" y="731"/>
                      <a:pt x="2736" y="720"/>
                    </a:cubicBezTo>
                    <a:cubicBezTo>
                      <a:pt x="2736" y="713"/>
                      <a:pt x="2729" y="709"/>
                      <a:pt x="2731" y="702"/>
                    </a:cubicBezTo>
                    <a:cubicBezTo>
                      <a:pt x="2736" y="691"/>
                      <a:pt x="2751" y="702"/>
                      <a:pt x="2757" y="697"/>
                    </a:cubicBezTo>
                    <a:cubicBezTo>
                      <a:pt x="2756" y="685"/>
                      <a:pt x="2739" y="684"/>
                      <a:pt x="2728" y="677"/>
                    </a:cubicBezTo>
                    <a:cubicBezTo>
                      <a:pt x="2723" y="674"/>
                      <a:pt x="2719" y="666"/>
                      <a:pt x="2713" y="664"/>
                    </a:cubicBezTo>
                    <a:cubicBezTo>
                      <a:pt x="2704" y="660"/>
                      <a:pt x="2695" y="661"/>
                      <a:pt x="2688" y="656"/>
                    </a:cubicBezTo>
                    <a:cubicBezTo>
                      <a:pt x="2682" y="651"/>
                      <a:pt x="2679" y="640"/>
                      <a:pt x="2673" y="633"/>
                    </a:cubicBezTo>
                    <a:cubicBezTo>
                      <a:pt x="2664" y="622"/>
                      <a:pt x="2644" y="620"/>
                      <a:pt x="2649" y="596"/>
                    </a:cubicBezTo>
                    <a:cubicBezTo>
                      <a:pt x="2652" y="592"/>
                      <a:pt x="2658" y="587"/>
                      <a:pt x="2663" y="588"/>
                    </a:cubicBezTo>
                    <a:cubicBezTo>
                      <a:pt x="2671" y="590"/>
                      <a:pt x="2670" y="597"/>
                      <a:pt x="2676" y="602"/>
                    </a:cubicBezTo>
                    <a:cubicBezTo>
                      <a:pt x="2680" y="605"/>
                      <a:pt x="2687" y="604"/>
                      <a:pt x="2692" y="607"/>
                    </a:cubicBezTo>
                    <a:cubicBezTo>
                      <a:pt x="2697" y="611"/>
                      <a:pt x="2701" y="621"/>
                      <a:pt x="2707" y="626"/>
                    </a:cubicBezTo>
                    <a:cubicBezTo>
                      <a:pt x="2717" y="634"/>
                      <a:pt x="2733" y="640"/>
                      <a:pt x="2746" y="646"/>
                    </a:cubicBezTo>
                    <a:cubicBezTo>
                      <a:pt x="2759" y="652"/>
                      <a:pt x="2778" y="660"/>
                      <a:pt x="2781" y="671"/>
                    </a:cubicBezTo>
                    <a:cubicBezTo>
                      <a:pt x="2782" y="677"/>
                      <a:pt x="2779" y="683"/>
                      <a:pt x="2780" y="689"/>
                    </a:cubicBezTo>
                    <a:cubicBezTo>
                      <a:pt x="2781" y="695"/>
                      <a:pt x="2785" y="702"/>
                      <a:pt x="2789" y="706"/>
                    </a:cubicBezTo>
                    <a:cubicBezTo>
                      <a:pt x="2797" y="718"/>
                      <a:pt x="2809" y="729"/>
                      <a:pt x="2819" y="743"/>
                    </a:cubicBezTo>
                    <a:cubicBezTo>
                      <a:pt x="2818" y="763"/>
                      <a:pt x="2826" y="775"/>
                      <a:pt x="2848" y="772"/>
                    </a:cubicBezTo>
                    <a:cubicBezTo>
                      <a:pt x="2856" y="768"/>
                      <a:pt x="2852" y="762"/>
                      <a:pt x="2858" y="755"/>
                    </a:cubicBezTo>
                    <a:cubicBezTo>
                      <a:pt x="2864" y="749"/>
                      <a:pt x="2877" y="750"/>
                      <a:pt x="2877" y="741"/>
                    </a:cubicBezTo>
                    <a:cubicBezTo>
                      <a:pt x="2877" y="727"/>
                      <a:pt x="2843" y="725"/>
                      <a:pt x="2848" y="704"/>
                    </a:cubicBezTo>
                    <a:cubicBezTo>
                      <a:pt x="2849" y="698"/>
                      <a:pt x="2856" y="701"/>
                      <a:pt x="2862" y="701"/>
                    </a:cubicBezTo>
                    <a:cubicBezTo>
                      <a:pt x="2872" y="690"/>
                      <a:pt x="2892" y="676"/>
                      <a:pt x="2905" y="693"/>
                    </a:cubicBezTo>
                    <a:cubicBezTo>
                      <a:pt x="2910" y="727"/>
                      <a:pt x="2921" y="756"/>
                      <a:pt x="2945" y="774"/>
                    </a:cubicBezTo>
                    <a:cubicBezTo>
                      <a:pt x="2962" y="768"/>
                      <a:pt x="2969" y="784"/>
                      <a:pt x="2985" y="781"/>
                    </a:cubicBezTo>
                    <a:cubicBezTo>
                      <a:pt x="2993" y="780"/>
                      <a:pt x="2996" y="770"/>
                      <a:pt x="3004" y="769"/>
                    </a:cubicBezTo>
                    <a:cubicBezTo>
                      <a:pt x="3017" y="767"/>
                      <a:pt x="3027" y="782"/>
                      <a:pt x="3040" y="783"/>
                    </a:cubicBezTo>
                    <a:cubicBezTo>
                      <a:pt x="3060" y="786"/>
                      <a:pt x="3076" y="762"/>
                      <a:pt x="3096" y="774"/>
                    </a:cubicBezTo>
                    <a:cubicBezTo>
                      <a:pt x="3097" y="791"/>
                      <a:pt x="3103" y="800"/>
                      <a:pt x="3102" y="812"/>
                    </a:cubicBezTo>
                    <a:cubicBezTo>
                      <a:pt x="3102" y="822"/>
                      <a:pt x="3094" y="830"/>
                      <a:pt x="3090" y="842"/>
                    </a:cubicBezTo>
                    <a:close/>
                    <a:moveTo>
                      <a:pt x="3099" y="1760"/>
                    </a:moveTo>
                    <a:cubicBezTo>
                      <a:pt x="3099" y="1760"/>
                      <a:pt x="3100" y="1760"/>
                      <a:pt x="3101" y="1760"/>
                    </a:cubicBezTo>
                    <a:cubicBezTo>
                      <a:pt x="3113" y="1766"/>
                      <a:pt x="3106" y="1789"/>
                      <a:pt x="3101" y="1797"/>
                    </a:cubicBezTo>
                    <a:cubicBezTo>
                      <a:pt x="3088" y="1792"/>
                      <a:pt x="3094" y="1769"/>
                      <a:pt x="3099" y="1760"/>
                    </a:cubicBezTo>
                    <a:close/>
                    <a:moveTo>
                      <a:pt x="3075" y="1581"/>
                    </a:moveTo>
                    <a:cubicBezTo>
                      <a:pt x="3062" y="1582"/>
                      <a:pt x="3051" y="1580"/>
                      <a:pt x="3046" y="1572"/>
                    </a:cubicBezTo>
                    <a:cubicBezTo>
                      <a:pt x="3050" y="1561"/>
                      <a:pt x="3045" y="1553"/>
                      <a:pt x="3048" y="1543"/>
                    </a:cubicBezTo>
                    <a:cubicBezTo>
                      <a:pt x="3053" y="1527"/>
                      <a:pt x="3093" y="1517"/>
                      <a:pt x="3096" y="1538"/>
                    </a:cubicBezTo>
                    <a:cubicBezTo>
                      <a:pt x="3098" y="1548"/>
                      <a:pt x="3089" y="1556"/>
                      <a:pt x="3085" y="1564"/>
                    </a:cubicBezTo>
                    <a:cubicBezTo>
                      <a:pt x="3082" y="1571"/>
                      <a:pt x="3083" y="1577"/>
                      <a:pt x="3075" y="1581"/>
                    </a:cubicBezTo>
                    <a:close/>
                    <a:moveTo>
                      <a:pt x="2998" y="1629"/>
                    </a:moveTo>
                    <a:cubicBezTo>
                      <a:pt x="2999" y="1629"/>
                      <a:pt x="3001" y="1629"/>
                      <a:pt x="3002" y="1629"/>
                    </a:cubicBezTo>
                    <a:cubicBezTo>
                      <a:pt x="3011" y="1634"/>
                      <a:pt x="3006" y="1646"/>
                      <a:pt x="3008" y="1657"/>
                    </a:cubicBezTo>
                    <a:cubicBezTo>
                      <a:pt x="3010" y="1665"/>
                      <a:pt x="3022" y="1671"/>
                      <a:pt x="3017" y="1679"/>
                    </a:cubicBezTo>
                    <a:cubicBezTo>
                      <a:pt x="3002" y="1677"/>
                      <a:pt x="2990" y="1647"/>
                      <a:pt x="2998" y="1629"/>
                    </a:cubicBezTo>
                    <a:close/>
                    <a:moveTo>
                      <a:pt x="2835" y="315"/>
                    </a:moveTo>
                    <a:cubicBezTo>
                      <a:pt x="2830" y="317"/>
                      <a:pt x="2827" y="322"/>
                      <a:pt x="2822" y="324"/>
                    </a:cubicBezTo>
                    <a:cubicBezTo>
                      <a:pt x="2816" y="326"/>
                      <a:pt x="2804" y="324"/>
                      <a:pt x="2804" y="334"/>
                    </a:cubicBezTo>
                    <a:cubicBezTo>
                      <a:pt x="2809" y="344"/>
                      <a:pt x="2818" y="332"/>
                      <a:pt x="2824" y="332"/>
                    </a:cubicBezTo>
                    <a:cubicBezTo>
                      <a:pt x="2832" y="332"/>
                      <a:pt x="2842" y="339"/>
                      <a:pt x="2841" y="348"/>
                    </a:cubicBezTo>
                    <a:cubicBezTo>
                      <a:pt x="2839" y="369"/>
                      <a:pt x="2821" y="348"/>
                      <a:pt x="2809" y="348"/>
                    </a:cubicBezTo>
                    <a:cubicBezTo>
                      <a:pt x="2791" y="349"/>
                      <a:pt x="2787" y="374"/>
                      <a:pt x="2791" y="393"/>
                    </a:cubicBezTo>
                    <a:cubicBezTo>
                      <a:pt x="2783" y="397"/>
                      <a:pt x="2774" y="410"/>
                      <a:pt x="2763" y="411"/>
                    </a:cubicBezTo>
                    <a:cubicBezTo>
                      <a:pt x="2756" y="412"/>
                      <a:pt x="2751" y="405"/>
                      <a:pt x="2742" y="404"/>
                    </a:cubicBezTo>
                    <a:cubicBezTo>
                      <a:pt x="2722" y="402"/>
                      <a:pt x="2703" y="420"/>
                      <a:pt x="2684" y="420"/>
                    </a:cubicBezTo>
                    <a:cubicBezTo>
                      <a:pt x="2675" y="420"/>
                      <a:pt x="2667" y="410"/>
                      <a:pt x="2654" y="410"/>
                    </a:cubicBezTo>
                    <a:cubicBezTo>
                      <a:pt x="2647" y="410"/>
                      <a:pt x="2642" y="415"/>
                      <a:pt x="2635" y="415"/>
                    </a:cubicBezTo>
                    <a:cubicBezTo>
                      <a:pt x="2626" y="416"/>
                      <a:pt x="2612" y="412"/>
                      <a:pt x="2612" y="405"/>
                    </a:cubicBezTo>
                    <a:cubicBezTo>
                      <a:pt x="2613" y="394"/>
                      <a:pt x="2628" y="403"/>
                      <a:pt x="2637" y="402"/>
                    </a:cubicBezTo>
                    <a:cubicBezTo>
                      <a:pt x="2648" y="400"/>
                      <a:pt x="2645" y="391"/>
                      <a:pt x="2653" y="390"/>
                    </a:cubicBezTo>
                    <a:cubicBezTo>
                      <a:pt x="2657" y="389"/>
                      <a:pt x="2662" y="394"/>
                      <a:pt x="2669" y="393"/>
                    </a:cubicBezTo>
                    <a:cubicBezTo>
                      <a:pt x="2677" y="392"/>
                      <a:pt x="2684" y="381"/>
                      <a:pt x="2692" y="377"/>
                    </a:cubicBezTo>
                    <a:cubicBezTo>
                      <a:pt x="2706" y="371"/>
                      <a:pt x="2717" y="375"/>
                      <a:pt x="2720" y="363"/>
                    </a:cubicBezTo>
                    <a:cubicBezTo>
                      <a:pt x="2721" y="356"/>
                      <a:pt x="2716" y="347"/>
                      <a:pt x="2717" y="340"/>
                    </a:cubicBezTo>
                    <a:cubicBezTo>
                      <a:pt x="2721" y="324"/>
                      <a:pt x="2751" y="326"/>
                      <a:pt x="2750" y="307"/>
                    </a:cubicBezTo>
                    <a:cubicBezTo>
                      <a:pt x="2749" y="296"/>
                      <a:pt x="2725" y="293"/>
                      <a:pt x="2723" y="283"/>
                    </a:cubicBezTo>
                    <a:cubicBezTo>
                      <a:pt x="2721" y="276"/>
                      <a:pt x="2725" y="264"/>
                      <a:pt x="2727" y="260"/>
                    </a:cubicBezTo>
                    <a:cubicBezTo>
                      <a:pt x="2737" y="242"/>
                      <a:pt x="2770" y="240"/>
                      <a:pt x="2780" y="225"/>
                    </a:cubicBezTo>
                    <a:cubicBezTo>
                      <a:pt x="2784" y="218"/>
                      <a:pt x="2784" y="210"/>
                      <a:pt x="2788" y="207"/>
                    </a:cubicBezTo>
                    <a:cubicBezTo>
                      <a:pt x="2797" y="197"/>
                      <a:pt x="2825" y="195"/>
                      <a:pt x="2834" y="205"/>
                    </a:cubicBezTo>
                    <a:cubicBezTo>
                      <a:pt x="2834" y="230"/>
                      <a:pt x="2784" y="234"/>
                      <a:pt x="2783" y="254"/>
                    </a:cubicBezTo>
                    <a:cubicBezTo>
                      <a:pt x="2783" y="258"/>
                      <a:pt x="2787" y="266"/>
                      <a:pt x="2788" y="273"/>
                    </a:cubicBezTo>
                    <a:cubicBezTo>
                      <a:pt x="2788" y="279"/>
                      <a:pt x="2787" y="284"/>
                      <a:pt x="2789" y="287"/>
                    </a:cubicBezTo>
                    <a:cubicBezTo>
                      <a:pt x="2792" y="298"/>
                      <a:pt x="2807" y="306"/>
                      <a:pt x="2819" y="307"/>
                    </a:cubicBezTo>
                    <a:cubicBezTo>
                      <a:pt x="2845" y="309"/>
                      <a:pt x="2886" y="282"/>
                      <a:pt x="2909" y="302"/>
                    </a:cubicBezTo>
                    <a:cubicBezTo>
                      <a:pt x="2899" y="324"/>
                      <a:pt x="2862" y="306"/>
                      <a:pt x="2835" y="315"/>
                    </a:cubicBezTo>
                    <a:close/>
                    <a:moveTo>
                      <a:pt x="5144" y="2379"/>
                    </a:moveTo>
                    <a:cubicBezTo>
                      <a:pt x="5131" y="2377"/>
                      <a:pt x="5123" y="2367"/>
                      <a:pt x="5115" y="2382"/>
                    </a:cubicBezTo>
                    <a:cubicBezTo>
                      <a:pt x="5112" y="2388"/>
                      <a:pt x="5105" y="2414"/>
                      <a:pt x="5106" y="2419"/>
                    </a:cubicBezTo>
                    <a:cubicBezTo>
                      <a:pt x="5110" y="2439"/>
                      <a:pt x="5142" y="2425"/>
                      <a:pt x="5152" y="2418"/>
                    </a:cubicBezTo>
                    <a:cubicBezTo>
                      <a:pt x="5166" y="2408"/>
                      <a:pt x="5176" y="2393"/>
                      <a:pt x="5179" y="2379"/>
                    </a:cubicBezTo>
                    <a:cubicBezTo>
                      <a:pt x="5169" y="2371"/>
                      <a:pt x="5157" y="2381"/>
                      <a:pt x="5144" y="2379"/>
                    </a:cubicBezTo>
                    <a:close/>
                    <a:moveTo>
                      <a:pt x="5086" y="742"/>
                    </a:moveTo>
                    <a:cubicBezTo>
                      <a:pt x="5085" y="734"/>
                      <a:pt x="5089" y="726"/>
                      <a:pt x="5088" y="719"/>
                    </a:cubicBezTo>
                    <a:cubicBezTo>
                      <a:pt x="5085" y="699"/>
                      <a:pt x="5059" y="680"/>
                      <a:pt x="5039" y="677"/>
                    </a:cubicBezTo>
                    <a:cubicBezTo>
                      <a:pt x="5026" y="693"/>
                      <a:pt x="5046" y="706"/>
                      <a:pt x="5050" y="719"/>
                    </a:cubicBezTo>
                    <a:cubicBezTo>
                      <a:pt x="5056" y="738"/>
                      <a:pt x="5045" y="758"/>
                      <a:pt x="5035" y="763"/>
                    </a:cubicBezTo>
                    <a:cubicBezTo>
                      <a:pt x="5031" y="765"/>
                      <a:pt x="5026" y="764"/>
                      <a:pt x="5021" y="768"/>
                    </a:cubicBezTo>
                    <a:cubicBezTo>
                      <a:pt x="5016" y="772"/>
                      <a:pt x="5015" y="787"/>
                      <a:pt x="5006" y="791"/>
                    </a:cubicBezTo>
                    <a:cubicBezTo>
                      <a:pt x="4994" y="796"/>
                      <a:pt x="4979" y="791"/>
                      <a:pt x="4964" y="794"/>
                    </a:cubicBezTo>
                    <a:cubicBezTo>
                      <a:pt x="4956" y="796"/>
                      <a:pt x="4944" y="809"/>
                      <a:pt x="4938" y="816"/>
                    </a:cubicBezTo>
                    <a:cubicBezTo>
                      <a:pt x="4932" y="821"/>
                      <a:pt x="4916" y="835"/>
                      <a:pt x="4916" y="842"/>
                    </a:cubicBezTo>
                    <a:cubicBezTo>
                      <a:pt x="4917" y="850"/>
                      <a:pt x="4927" y="855"/>
                      <a:pt x="4934" y="865"/>
                    </a:cubicBezTo>
                    <a:cubicBezTo>
                      <a:pt x="4940" y="873"/>
                      <a:pt x="4946" y="885"/>
                      <a:pt x="4955" y="884"/>
                    </a:cubicBezTo>
                    <a:cubicBezTo>
                      <a:pt x="4969" y="882"/>
                      <a:pt x="4957" y="856"/>
                      <a:pt x="4969" y="849"/>
                    </a:cubicBezTo>
                    <a:cubicBezTo>
                      <a:pt x="4988" y="856"/>
                      <a:pt x="4996" y="829"/>
                      <a:pt x="5012" y="829"/>
                    </a:cubicBezTo>
                    <a:cubicBezTo>
                      <a:pt x="5018" y="829"/>
                      <a:pt x="5023" y="836"/>
                      <a:pt x="5030" y="835"/>
                    </a:cubicBezTo>
                    <a:cubicBezTo>
                      <a:pt x="5038" y="833"/>
                      <a:pt x="5041" y="818"/>
                      <a:pt x="5049" y="815"/>
                    </a:cubicBezTo>
                    <a:cubicBezTo>
                      <a:pt x="5067" y="806"/>
                      <a:pt x="5091" y="812"/>
                      <a:pt x="5104" y="797"/>
                    </a:cubicBezTo>
                    <a:cubicBezTo>
                      <a:pt x="5100" y="784"/>
                      <a:pt x="5097" y="771"/>
                      <a:pt x="5092" y="758"/>
                    </a:cubicBezTo>
                    <a:cubicBezTo>
                      <a:pt x="5090" y="752"/>
                      <a:pt x="5086" y="747"/>
                      <a:pt x="5086" y="742"/>
                    </a:cubicBezTo>
                    <a:close/>
                    <a:moveTo>
                      <a:pt x="5067" y="619"/>
                    </a:moveTo>
                    <a:cubicBezTo>
                      <a:pt x="5042" y="615"/>
                      <a:pt x="5021" y="595"/>
                      <a:pt x="5010" y="597"/>
                    </a:cubicBezTo>
                    <a:cubicBezTo>
                      <a:pt x="5010" y="599"/>
                      <a:pt x="5009" y="599"/>
                      <a:pt x="5009" y="600"/>
                    </a:cubicBezTo>
                    <a:cubicBezTo>
                      <a:pt x="5014" y="613"/>
                      <a:pt x="5022" y="619"/>
                      <a:pt x="5019" y="632"/>
                    </a:cubicBezTo>
                    <a:cubicBezTo>
                      <a:pt x="5017" y="639"/>
                      <a:pt x="5009" y="643"/>
                      <a:pt x="5009" y="650"/>
                    </a:cubicBezTo>
                    <a:cubicBezTo>
                      <a:pt x="5009" y="660"/>
                      <a:pt x="5024" y="670"/>
                      <a:pt x="5033" y="672"/>
                    </a:cubicBezTo>
                    <a:cubicBezTo>
                      <a:pt x="5037" y="662"/>
                      <a:pt x="5031" y="654"/>
                      <a:pt x="5041" y="652"/>
                    </a:cubicBezTo>
                    <a:cubicBezTo>
                      <a:pt x="5050" y="650"/>
                      <a:pt x="5060" y="660"/>
                      <a:pt x="5069" y="658"/>
                    </a:cubicBezTo>
                    <a:cubicBezTo>
                      <a:pt x="5075" y="657"/>
                      <a:pt x="5080" y="647"/>
                      <a:pt x="5085" y="644"/>
                    </a:cubicBezTo>
                    <a:cubicBezTo>
                      <a:pt x="5089" y="641"/>
                      <a:pt x="5094" y="642"/>
                      <a:pt x="5097" y="636"/>
                    </a:cubicBezTo>
                    <a:cubicBezTo>
                      <a:pt x="5096" y="621"/>
                      <a:pt x="5083" y="622"/>
                      <a:pt x="5067" y="619"/>
                    </a:cubicBezTo>
                    <a:close/>
                    <a:moveTo>
                      <a:pt x="5039" y="1770"/>
                    </a:moveTo>
                    <a:cubicBezTo>
                      <a:pt x="5041" y="1776"/>
                      <a:pt x="5057" y="1777"/>
                      <a:pt x="5056" y="1768"/>
                    </a:cubicBezTo>
                    <a:cubicBezTo>
                      <a:pt x="5054" y="1761"/>
                      <a:pt x="5039" y="1763"/>
                      <a:pt x="5039" y="1770"/>
                    </a:cubicBezTo>
                    <a:close/>
                    <a:moveTo>
                      <a:pt x="4997" y="574"/>
                    </a:moveTo>
                    <a:cubicBezTo>
                      <a:pt x="5015" y="562"/>
                      <a:pt x="4989" y="548"/>
                      <a:pt x="4978" y="542"/>
                    </a:cubicBezTo>
                    <a:cubicBezTo>
                      <a:pt x="4973" y="555"/>
                      <a:pt x="4985" y="570"/>
                      <a:pt x="4997" y="574"/>
                    </a:cubicBezTo>
                    <a:close/>
                    <a:moveTo>
                      <a:pt x="4905" y="1739"/>
                    </a:moveTo>
                    <a:cubicBezTo>
                      <a:pt x="4907" y="1740"/>
                      <a:pt x="4909" y="1742"/>
                      <a:pt x="4910" y="1743"/>
                    </a:cubicBezTo>
                    <a:cubicBezTo>
                      <a:pt x="4923" y="1742"/>
                      <a:pt x="4932" y="1731"/>
                      <a:pt x="4943" y="1725"/>
                    </a:cubicBezTo>
                    <a:cubicBezTo>
                      <a:pt x="4954" y="1718"/>
                      <a:pt x="4971" y="1718"/>
                      <a:pt x="4975" y="1704"/>
                    </a:cubicBezTo>
                    <a:cubicBezTo>
                      <a:pt x="4953" y="1697"/>
                      <a:pt x="4939" y="1712"/>
                      <a:pt x="4926" y="1719"/>
                    </a:cubicBezTo>
                    <a:cubicBezTo>
                      <a:pt x="4918" y="1724"/>
                      <a:pt x="4905" y="1727"/>
                      <a:pt x="4905" y="1739"/>
                    </a:cubicBezTo>
                    <a:close/>
                    <a:moveTo>
                      <a:pt x="4864" y="1505"/>
                    </a:moveTo>
                    <a:cubicBezTo>
                      <a:pt x="4853" y="1506"/>
                      <a:pt x="4843" y="1515"/>
                      <a:pt x="4843" y="1525"/>
                    </a:cubicBezTo>
                    <a:cubicBezTo>
                      <a:pt x="4849" y="1527"/>
                      <a:pt x="4851" y="1523"/>
                      <a:pt x="4857" y="1522"/>
                    </a:cubicBezTo>
                    <a:cubicBezTo>
                      <a:pt x="4886" y="1517"/>
                      <a:pt x="4929" y="1538"/>
                      <a:pt x="4931" y="1510"/>
                    </a:cubicBezTo>
                    <a:cubicBezTo>
                      <a:pt x="4922" y="1505"/>
                      <a:pt x="4909" y="1509"/>
                      <a:pt x="4896" y="1509"/>
                    </a:cubicBezTo>
                    <a:cubicBezTo>
                      <a:pt x="4884" y="1509"/>
                      <a:pt x="4872" y="1504"/>
                      <a:pt x="4864" y="1505"/>
                    </a:cubicBezTo>
                    <a:close/>
                    <a:moveTo>
                      <a:pt x="4859" y="1554"/>
                    </a:moveTo>
                    <a:cubicBezTo>
                      <a:pt x="4856" y="1553"/>
                      <a:pt x="4848" y="1540"/>
                      <a:pt x="4842" y="1541"/>
                    </a:cubicBezTo>
                    <a:cubicBezTo>
                      <a:pt x="4830" y="1541"/>
                      <a:pt x="4832" y="1561"/>
                      <a:pt x="4828" y="1571"/>
                    </a:cubicBezTo>
                    <a:cubicBezTo>
                      <a:pt x="4826" y="1578"/>
                      <a:pt x="4818" y="1585"/>
                      <a:pt x="4818" y="1592"/>
                    </a:cubicBezTo>
                    <a:cubicBezTo>
                      <a:pt x="4819" y="1600"/>
                      <a:pt x="4829" y="1602"/>
                      <a:pt x="4832" y="1613"/>
                    </a:cubicBezTo>
                    <a:cubicBezTo>
                      <a:pt x="4834" y="1625"/>
                      <a:pt x="4823" y="1641"/>
                      <a:pt x="4834" y="1644"/>
                    </a:cubicBezTo>
                    <a:cubicBezTo>
                      <a:pt x="4857" y="1651"/>
                      <a:pt x="4841" y="1596"/>
                      <a:pt x="4858" y="1593"/>
                    </a:cubicBezTo>
                    <a:cubicBezTo>
                      <a:pt x="4867" y="1607"/>
                      <a:pt x="4879" y="1647"/>
                      <a:pt x="4902" y="1643"/>
                    </a:cubicBezTo>
                    <a:cubicBezTo>
                      <a:pt x="4907" y="1639"/>
                      <a:pt x="4905" y="1628"/>
                      <a:pt x="4905" y="1620"/>
                    </a:cubicBezTo>
                    <a:cubicBezTo>
                      <a:pt x="4895" y="1607"/>
                      <a:pt x="4891" y="1587"/>
                      <a:pt x="4882" y="1573"/>
                    </a:cubicBezTo>
                    <a:cubicBezTo>
                      <a:pt x="4888" y="1561"/>
                      <a:pt x="4909" y="1559"/>
                      <a:pt x="4907" y="1544"/>
                    </a:cubicBezTo>
                    <a:cubicBezTo>
                      <a:pt x="4889" y="1540"/>
                      <a:pt x="4873" y="1557"/>
                      <a:pt x="4859" y="1554"/>
                    </a:cubicBezTo>
                    <a:close/>
                    <a:moveTo>
                      <a:pt x="4837" y="1707"/>
                    </a:moveTo>
                    <a:cubicBezTo>
                      <a:pt x="4839" y="1714"/>
                      <a:pt x="4862" y="1718"/>
                      <a:pt x="4866" y="1710"/>
                    </a:cubicBezTo>
                    <a:cubicBezTo>
                      <a:pt x="4864" y="1701"/>
                      <a:pt x="4841" y="1698"/>
                      <a:pt x="4837" y="1707"/>
                    </a:cubicBezTo>
                    <a:close/>
                    <a:moveTo>
                      <a:pt x="4820" y="1728"/>
                    </a:moveTo>
                    <a:cubicBezTo>
                      <a:pt x="4823" y="1736"/>
                      <a:pt x="4832" y="1739"/>
                      <a:pt x="4840" y="1741"/>
                    </a:cubicBezTo>
                    <a:cubicBezTo>
                      <a:pt x="4842" y="1740"/>
                      <a:pt x="4844" y="1738"/>
                      <a:pt x="4845" y="1737"/>
                    </a:cubicBezTo>
                    <a:cubicBezTo>
                      <a:pt x="4845" y="1726"/>
                      <a:pt x="4827" y="1719"/>
                      <a:pt x="4820" y="1728"/>
                    </a:cubicBezTo>
                    <a:close/>
                    <a:moveTo>
                      <a:pt x="4797" y="1469"/>
                    </a:moveTo>
                    <a:cubicBezTo>
                      <a:pt x="4793" y="1441"/>
                      <a:pt x="4812" y="1440"/>
                      <a:pt x="4818" y="1420"/>
                    </a:cubicBezTo>
                    <a:cubicBezTo>
                      <a:pt x="4813" y="1412"/>
                      <a:pt x="4803" y="1410"/>
                      <a:pt x="4797" y="1403"/>
                    </a:cubicBezTo>
                    <a:cubicBezTo>
                      <a:pt x="4796" y="1394"/>
                      <a:pt x="4780" y="1372"/>
                      <a:pt x="4770" y="1383"/>
                    </a:cubicBezTo>
                    <a:cubicBezTo>
                      <a:pt x="4759" y="1397"/>
                      <a:pt x="4758" y="1412"/>
                      <a:pt x="4743" y="1423"/>
                    </a:cubicBezTo>
                    <a:cubicBezTo>
                      <a:pt x="4738" y="1428"/>
                      <a:pt x="4731" y="1428"/>
                      <a:pt x="4725" y="1432"/>
                    </a:cubicBezTo>
                    <a:cubicBezTo>
                      <a:pt x="4718" y="1436"/>
                      <a:pt x="4715" y="1446"/>
                      <a:pt x="4710" y="1451"/>
                    </a:cubicBezTo>
                    <a:cubicBezTo>
                      <a:pt x="4705" y="1457"/>
                      <a:pt x="4699" y="1464"/>
                      <a:pt x="4692" y="1467"/>
                    </a:cubicBezTo>
                    <a:cubicBezTo>
                      <a:pt x="4685" y="1470"/>
                      <a:pt x="4676" y="1468"/>
                      <a:pt x="4671" y="1471"/>
                    </a:cubicBezTo>
                    <a:cubicBezTo>
                      <a:pt x="4662" y="1477"/>
                      <a:pt x="4664" y="1491"/>
                      <a:pt x="4653" y="1494"/>
                    </a:cubicBezTo>
                    <a:cubicBezTo>
                      <a:pt x="4648" y="1495"/>
                      <a:pt x="4640" y="1489"/>
                      <a:pt x="4632" y="1490"/>
                    </a:cubicBezTo>
                    <a:cubicBezTo>
                      <a:pt x="4613" y="1494"/>
                      <a:pt x="4616" y="1528"/>
                      <a:pt x="4623" y="1543"/>
                    </a:cubicBezTo>
                    <a:cubicBezTo>
                      <a:pt x="4628" y="1553"/>
                      <a:pt x="4637" y="1557"/>
                      <a:pt x="4640" y="1565"/>
                    </a:cubicBezTo>
                    <a:cubicBezTo>
                      <a:pt x="4642" y="1573"/>
                      <a:pt x="4641" y="1586"/>
                      <a:pt x="4649" y="1591"/>
                    </a:cubicBezTo>
                    <a:cubicBezTo>
                      <a:pt x="4652" y="1593"/>
                      <a:pt x="4660" y="1592"/>
                      <a:pt x="4669" y="1594"/>
                    </a:cubicBezTo>
                    <a:cubicBezTo>
                      <a:pt x="4676" y="1596"/>
                      <a:pt x="4680" y="1600"/>
                      <a:pt x="4684" y="1601"/>
                    </a:cubicBezTo>
                    <a:cubicBezTo>
                      <a:pt x="4690" y="1601"/>
                      <a:pt x="4697" y="1597"/>
                      <a:pt x="4703" y="1597"/>
                    </a:cubicBezTo>
                    <a:cubicBezTo>
                      <a:pt x="4719" y="1598"/>
                      <a:pt x="4728" y="1611"/>
                      <a:pt x="4738" y="1612"/>
                    </a:cubicBezTo>
                    <a:cubicBezTo>
                      <a:pt x="4747" y="1613"/>
                      <a:pt x="4755" y="1606"/>
                      <a:pt x="4762" y="1606"/>
                    </a:cubicBezTo>
                    <a:cubicBezTo>
                      <a:pt x="4773" y="1597"/>
                      <a:pt x="4768" y="1579"/>
                      <a:pt x="4772" y="1566"/>
                    </a:cubicBezTo>
                    <a:cubicBezTo>
                      <a:pt x="4776" y="1555"/>
                      <a:pt x="4789" y="1553"/>
                      <a:pt x="4794" y="1544"/>
                    </a:cubicBezTo>
                    <a:cubicBezTo>
                      <a:pt x="4795" y="1531"/>
                      <a:pt x="4791" y="1531"/>
                      <a:pt x="4795" y="1523"/>
                    </a:cubicBezTo>
                    <a:cubicBezTo>
                      <a:pt x="4798" y="1514"/>
                      <a:pt x="4815" y="1514"/>
                      <a:pt x="4816" y="1506"/>
                    </a:cubicBezTo>
                    <a:cubicBezTo>
                      <a:pt x="4816" y="1502"/>
                      <a:pt x="4807" y="1495"/>
                      <a:pt x="4804" y="1488"/>
                    </a:cubicBezTo>
                    <a:cubicBezTo>
                      <a:pt x="4801" y="1482"/>
                      <a:pt x="4798" y="1474"/>
                      <a:pt x="4797" y="1469"/>
                    </a:cubicBezTo>
                    <a:close/>
                    <a:moveTo>
                      <a:pt x="4779" y="1703"/>
                    </a:moveTo>
                    <a:cubicBezTo>
                      <a:pt x="4771" y="1704"/>
                      <a:pt x="4760" y="1699"/>
                      <a:pt x="4757" y="1707"/>
                    </a:cubicBezTo>
                    <a:cubicBezTo>
                      <a:pt x="4759" y="1716"/>
                      <a:pt x="4771" y="1716"/>
                      <a:pt x="4783" y="1717"/>
                    </a:cubicBezTo>
                    <a:cubicBezTo>
                      <a:pt x="4790" y="1708"/>
                      <a:pt x="4809" y="1717"/>
                      <a:pt x="4815" y="1709"/>
                    </a:cubicBezTo>
                    <a:cubicBezTo>
                      <a:pt x="4811" y="1693"/>
                      <a:pt x="4793" y="1702"/>
                      <a:pt x="4779" y="1703"/>
                    </a:cubicBezTo>
                    <a:close/>
                    <a:moveTo>
                      <a:pt x="4698" y="1686"/>
                    </a:moveTo>
                    <a:cubicBezTo>
                      <a:pt x="4698" y="1680"/>
                      <a:pt x="4700" y="1677"/>
                      <a:pt x="4697" y="1673"/>
                    </a:cubicBezTo>
                    <a:cubicBezTo>
                      <a:pt x="4681" y="1675"/>
                      <a:pt x="4668" y="1665"/>
                      <a:pt x="4655" y="1665"/>
                    </a:cubicBezTo>
                    <a:cubicBezTo>
                      <a:pt x="4649" y="1666"/>
                      <a:pt x="4645" y="1670"/>
                      <a:pt x="4639" y="1671"/>
                    </a:cubicBezTo>
                    <a:cubicBezTo>
                      <a:pt x="4613" y="1675"/>
                      <a:pt x="4600" y="1657"/>
                      <a:pt x="4580" y="1654"/>
                    </a:cubicBezTo>
                    <a:cubicBezTo>
                      <a:pt x="4564" y="1652"/>
                      <a:pt x="4547" y="1655"/>
                      <a:pt x="4547" y="1665"/>
                    </a:cubicBezTo>
                    <a:cubicBezTo>
                      <a:pt x="4548" y="1675"/>
                      <a:pt x="4585" y="1690"/>
                      <a:pt x="4595" y="1691"/>
                    </a:cubicBezTo>
                    <a:cubicBezTo>
                      <a:pt x="4604" y="1692"/>
                      <a:pt x="4613" y="1690"/>
                      <a:pt x="4622" y="1691"/>
                    </a:cubicBezTo>
                    <a:cubicBezTo>
                      <a:pt x="4637" y="1693"/>
                      <a:pt x="4651" y="1702"/>
                      <a:pt x="4667" y="1703"/>
                    </a:cubicBezTo>
                    <a:cubicBezTo>
                      <a:pt x="4679" y="1705"/>
                      <a:pt x="4691" y="1704"/>
                      <a:pt x="4702" y="1706"/>
                    </a:cubicBezTo>
                    <a:cubicBezTo>
                      <a:pt x="4715" y="1707"/>
                      <a:pt x="4729" y="1715"/>
                      <a:pt x="4739" y="1704"/>
                    </a:cubicBezTo>
                    <a:cubicBezTo>
                      <a:pt x="4732" y="1691"/>
                      <a:pt x="4711" y="1692"/>
                      <a:pt x="4698" y="1686"/>
                    </a:cubicBezTo>
                    <a:close/>
                    <a:moveTo>
                      <a:pt x="4597" y="1613"/>
                    </a:moveTo>
                    <a:cubicBezTo>
                      <a:pt x="4625" y="1613"/>
                      <a:pt x="4625" y="1569"/>
                      <a:pt x="4597" y="1569"/>
                    </a:cubicBezTo>
                    <a:cubicBezTo>
                      <a:pt x="4568" y="1569"/>
                      <a:pt x="4568" y="1613"/>
                      <a:pt x="4597" y="1613"/>
                    </a:cubicBezTo>
                    <a:close/>
                    <a:moveTo>
                      <a:pt x="4538" y="1572"/>
                    </a:moveTo>
                    <a:cubicBezTo>
                      <a:pt x="4530" y="1571"/>
                      <a:pt x="4529" y="1561"/>
                      <a:pt x="4524" y="1555"/>
                    </a:cubicBezTo>
                    <a:cubicBezTo>
                      <a:pt x="4519" y="1550"/>
                      <a:pt x="4512" y="1547"/>
                      <a:pt x="4510" y="1542"/>
                    </a:cubicBezTo>
                    <a:cubicBezTo>
                      <a:pt x="4510" y="1538"/>
                      <a:pt x="4512" y="1531"/>
                      <a:pt x="4512" y="1527"/>
                    </a:cubicBezTo>
                    <a:cubicBezTo>
                      <a:pt x="4508" y="1510"/>
                      <a:pt x="4485" y="1502"/>
                      <a:pt x="4472" y="1494"/>
                    </a:cubicBezTo>
                    <a:cubicBezTo>
                      <a:pt x="4463" y="1488"/>
                      <a:pt x="4453" y="1485"/>
                      <a:pt x="4446" y="1480"/>
                    </a:cubicBezTo>
                    <a:cubicBezTo>
                      <a:pt x="4440" y="1477"/>
                      <a:pt x="4436" y="1469"/>
                      <a:pt x="4429" y="1464"/>
                    </a:cubicBezTo>
                    <a:cubicBezTo>
                      <a:pt x="4423" y="1458"/>
                      <a:pt x="4415" y="1455"/>
                      <a:pt x="4409" y="1450"/>
                    </a:cubicBezTo>
                    <a:cubicBezTo>
                      <a:pt x="4398" y="1442"/>
                      <a:pt x="4391" y="1426"/>
                      <a:pt x="4381" y="1422"/>
                    </a:cubicBezTo>
                    <a:cubicBezTo>
                      <a:pt x="4376" y="1421"/>
                      <a:pt x="4368" y="1423"/>
                      <a:pt x="4361" y="1421"/>
                    </a:cubicBezTo>
                    <a:cubicBezTo>
                      <a:pt x="4350" y="1419"/>
                      <a:pt x="4344" y="1410"/>
                      <a:pt x="4339" y="1417"/>
                    </a:cubicBezTo>
                    <a:cubicBezTo>
                      <a:pt x="4340" y="1441"/>
                      <a:pt x="4367" y="1450"/>
                      <a:pt x="4381" y="1467"/>
                    </a:cubicBezTo>
                    <a:cubicBezTo>
                      <a:pt x="4384" y="1471"/>
                      <a:pt x="4386" y="1477"/>
                      <a:pt x="4390" y="1480"/>
                    </a:cubicBezTo>
                    <a:cubicBezTo>
                      <a:pt x="4395" y="1486"/>
                      <a:pt x="4403" y="1489"/>
                      <a:pt x="4408" y="1496"/>
                    </a:cubicBezTo>
                    <a:cubicBezTo>
                      <a:pt x="4413" y="1503"/>
                      <a:pt x="4413" y="1514"/>
                      <a:pt x="4418" y="1522"/>
                    </a:cubicBezTo>
                    <a:cubicBezTo>
                      <a:pt x="4424" y="1531"/>
                      <a:pt x="4434" y="1537"/>
                      <a:pt x="4440" y="1546"/>
                    </a:cubicBezTo>
                    <a:cubicBezTo>
                      <a:pt x="4447" y="1556"/>
                      <a:pt x="4449" y="1568"/>
                      <a:pt x="4455" y="1578"/>
                    </a:cubicBezTo>
                    <a:cubicBezTo>
                      <a:pt x="4459" y="1586"/>
                      <a:pt x="4466" y="1592"/>
                      <a:pt x="4472" y="1599"/>
                    </a:cubicBezTo>
                    <a:cubicBezTo>
                      <a:pt x="4490" y="1618"/>
                      <a:pt x="4506" y="1634"/>
                      <a:pt x="4526" y="1649"/>
                    </a:cubicBezTo>
                    <a:cubicBezTo>
                      <a:pt x="4534" y="1649"/>
                      <a:pt x="4543" y="1650"/>
                      <a:pt x="4548" y="1646"/>
                    </a:cubicBezTo>
                    <a:cubicBezTo>
                      <a:pt x="4557" y="1638"/>
                      <a:pt x="4550" y="1620"/>
                      <a:pt x="4555" y="1604"/>
                    </a:cubicBezTo>
                    <a:cubicBezTo>
                      <a:pt x="4558" y="1594"/>
                      <a:pt x="4570" y="1594"/>
                      <a:pt x="4571" y="1586"/>
                    </a:cubicBezTo>
                    <a:cubicBezTo>
                      <a:pt x="4571" y="1582"/>
                      <a:pt x="4558" y="1564"/>
                      <a:pt x="4555" y="1564"/>
                    </a:cubicBezTo>
                    <a:cubicBezTo>
                      <a:pt x="4547" y="1563"/>
                      <a:pt x="4546" y="1574"/>
                      <a:pt x="4538" y="1572"/>
                    </a:cubicBezTo>
                    <a:close/>
                    <a:moveTo>
                      <a:pt x="4025" y="1333"/>
                    </a:moveTo>
                    <a:cubicBezTo>
                      <a:pt x="4019" y="1353"/>
                      <a:pt x="4014" y="1402"/>
                      <a:pt x="4036" y="1406"/>
                    </a:cubicBezTo>
                    <a:cubicBezTo>
                      <a:pt x="4047" y="1407"/>
                      <a:pt x="4058" y="1399"/>
                      <a:pt x="4061" y="1393"/>
                    </a:cubicBezTo>
                    <a:cubicBezTo>
                      <a:pt x="4070" y="1372"/>
                      <a:pt x="4038" y="1333"/>
                      <a:pt x="4029" y="1330"/>
                    </a:cubicBezTo>
                    <a:cubicBezTo>
                      <a:pt x="4027" y="1330"/>
                      <a:pt x="4026" y="1332"/>
                      <a:pt x="4025" y="1333"/>
                    </a:cubicBezTo>
                    <a:close/>
                    <a:moveTo>
                      <a:pt x="3394" y="1788"/>
                    </a:moveTo>
                    <a:cubicBezTo>
                      <a:pt x="3389" y="1792"/>
                      <a:pt x="3390" y="1800"/>
                      <a:pt x="3386" y="1804"/>
                    </a:cubicBezTo>
                    <a:cubicBezTo>
                      <a:pt x="3383" y="1808"/>
                      <a:pt x="3376" y="1809"/>
                      <a:pt x="3373" y="1813"/>
                    </a:cubicBezTo>
                    <a:cubicBezTo>
                      <a:pt x="3369" y="1818"/>
                      <a:pt x="3368" y="1826"/>
                      <a:pt x="3363" y="1833"/>
                    </a:cubicBezTo>
                    <a:cubicBezTo>
                      <a:pt x="3357" y="1841"/>
                      <a:pt x="3345" y="1848"/>
                      <a:pt x="3336" y="1853"/>
                    </a:cubicBezTo>
                    <a:cubicBezTo>
                      <a:pt x="3326" y="1858"/>
                      <a:pt x="3312" y="1857"/>
                      <a:pt x="3302" y="1865"/>
                    </a:cubicBezTo>
                    <a:cubicBezTo>
                      <a:pt x="3294" y="1870"/>
                      <a:pt x="3288" y="1885"/>
                      <a:pt x="3287" y="1894"/>
                    </a:cubicBezTo>
                    <a:cubicBezTo>
                      <a:pt x="3286" y="1908"/>
                      <a:pt x="3293" y="1922"/>
                      <a:pt x="3293" y="1936"/>
                    </a:cubicBezTo>
                    <a:cubicBezTo>
                      <a:pt x="3292" y="1955"/>
                      <a:pt x="3270" y="1966"/>
                      <a:pt x="3267" y="1989"/>
                    </a:cubicBezTo>
                    <a:cubicBezTo>
                      <a:pt x="3266" y="1999"/>
                      <a:pt x="3271" y="2007"/>
                      <a:pt x="3273" y="2016"/>
                    </a:cubicBezTo>
                    <a:cubicBezTo>
                      <a:pt x="3274" y="2023"/>
                      <a:pt x="3272" y="2029"/>
                      <a:pt x="3274" y="2036"/>
                    </a:cubicBezTo>
                    <a:cubicBezTo>
                      <a:pt x="3277" y="2048"/>
                      <a:pt x="3289" y="2058"/>
                      <a:pt x="3303" y="2058"/>
                    </a:cubicBezTo>
                    <a:cubicBezTo>
                      <a:pt x="3308" y="2058"/>
                      <a:pt x="3329" y="2053"/>
                      <a:pt x="3334" y="2050"/>
                    </a:cubicBezTo>
                    <a:cubicBezTo>
                      <a:pt x="3349" y="2042"/>
                      <a:pt x="3352" y="2012"/>
                      <a:pt x="3360" y="1993"/>
                    </a:cubicBezTo>
                    <a:cubicBezTo>
                      <a:pt x="3362" y="1988"/>
                      <a:pt x="3366" y="1984"/>
                      <a:pt x="3369" y="1979"/>
                    </a:cubicBezTo>
                    <a:cubicBezTo>
                      <a:pt x="3375" y="1964"/>
                      <a:pt x="3379" y="1945"/>
                      <a:pt x="3386" y="1927"/>
                    </a:cubicBezTo>
                    <a:cubicBezTo>
                      <a:pt x="3395" y="1907"/>
                      <a:pt x="3405" y="1886"/>
                      <a:pt x="3405" y="1862"/>
                    </a:cubicBezTo>
                    <a:cubicBezTo>
                      <a:pt x="3408" y="1856"/>
                      <a:pt x="3418" y="1854"/>
                      <a:pt x="3420" y="1845"/>
                    </a:cubicBezTo>
                    <a:cubicBezTo>
                      <a:pt x="3420" y="1842"/>
                      <a:pt x="3417" y="1835"/>
                      <a:pt x="3416" y="1829"/>
                    </a:cubicBezTo>
                    <a:cubicBezTo>
                      <a:pt x="3414" y="1810"/>
                      <a:pt x="3410" y="1782"/>
                      <a:pt x="3394" y="1788"/>
                    </a:cubicBezTo>
                    <a:close/>
                    <a:moveTo>
                      <a:pt x="3190" y="141"/>
                    </a:moveTo>
                    <a:cubicBezTo>
                      <a:pt x="3194" y="130"/>
                      <a:pt x="3171" y="128"/>
                      <a:pt x="3174" y="140"/>
                    </a:cubicBezTo>
                    <a:cubicBezTo>
                      <a:pt x="3177" y="144"/>
                      <a:pt x="3187" y="144"/>
                      <a:pt x="3190" y="141"/>
                    </a:cubicBezTo>
                    <a:close/>
                    <a:moveTo>
                      <a:pt x="3063" y="802"/>
                    </a:moveTo>
                    <a:cubicBezTo>
                      <a:pt x="3059" y="794"/>
                      <a:pt x="3038" y="798"/>
                      <a:pt x="3037" y="807"/>
                    </a:cubicBezTo>
                    <a:cubicBezTo>
                      <a:pt x="3042" y="817"/>
                      <a:pt x="3062" y="811"/>
                      <a:pt x="3063" y="802"/>
                    </a:cubicBezTo>
                    <a:close/>
                    <a:moveTo>
                      <a:pt x="2698" y="768"/>
                    </a:moveTo>
                    <a:cubicBezTo>
                      <a:pt x="2705" y="763"/>
                      <a:pt x="2705" y="752"/>
                      <a:pt x="2708" y="743"/>
                    </a:cubicBezTo>
                    <a:cubicBezTo>
                      <a:pt x="2692" y="744"/>
                      <a:pt x="2666" y="737"/>
                      <a:pt x="2655" y="747"/>
                    </a:cubicBezTo>
                    <a:cubicBezTo>
                      <a:pt x="2663" y="760"/>
                      <a:pt x="2680" y="764"/>
                      <a:pt x="2698" y="768"/>
                    </a:cubicBezTo>
                    <a:close/>
                    <a:moveTo>
                      <a:pt x="2572" y="719"/>
                    </a:moveTo>
                    <a:cubicBezTo>
                      <a:pt x="2579" y="732"/>
                      <a:pt x="2595" y="720"/>
                      <a:pt x="2599" y="711"/>
                    </a:cubicBezTo>
                    <a:cubicBezTo>
                      <a:pt x="2605" y="680"/>
                      <a:pt x="2589" y="671"/>
                      <a:pt x="2573" y="687"/>
                    </a:cubicBezTo>
                    <a:cubicBezTo>
                      <a:pt x="2574" y="700"/>
                      <a:pt x="2575" y="708"/>
                      <a:pt x="2572" y="719"/>
                    </a:cubicBezTo>
                    <a:close/>
                    <a:moveTo>
                      <a:pt x="2588" y="669"/>
                    </a:moveTo>
                    <a:cubicBezTo>
                      <a:pt x="2593" y="665"/>
                      <a:pt x="2597" y="661"/>
                      <a:pt x="2596" y="652"/>
                    </a:cubicBezTo>
                    <a:cubicBezTo>
                      <a:pt x="2584" y="640"/>
                      <a:pt x="2573" y="666"/>
                      <a:pt x="2588" y="669"/>
                    </a:cubicBezTo>
                    <a:close/>
                    <a:moveTo>
                      <a:pt x="2440" y="435"/>
                    </a:moveTo>
                    <a:cubicBezTo>
                      <a:pt x="2436" y="432"/>
                      <a:pt x="2436" y="426"/>
                      <a:pt x="2432" y="420"/>
                    </a:cubicBezTo>
                    <a:cubicBezTo>
                      <a:pt x="2427" y="413"/>
                      <a:pt x="2419" y="408"/>
                      <a:pt x="2414" y="402"/>
                    </a:cubicBezTo>
                    <a:cubicBezTo>
                      <a:pt x="2407" y="393"/>
                      <a:pt x="2394" y="381"/>
                      <a:pt x="2394" y="374"/>
                    </a:cubicBezTo>
                    <a:cubicBezTo>
                      <a:pt x="2394" y="366"/>
                      <a:pt x="2403" y="364"/>
                      <a:pt x="2405" y="354"/>
                    </a:cubicBezTo>
                    <a:cubicBezTo>
                      <a:pt x="2403" y="344"/>
                      <a:pt x="2385" y="351"/>
                      <a:pt x="2384" y="341"/>
                    </a:cubicBezTo>
                    <a:cubicBezTo>
                      <a:pt x="2385" y="334"/>
                      <a:pt x="2390" y="333"/>
                      <a:pt x="2391" y="326"/>
                    </a:cubicBezTo>
                    <a:cubicBezTo>
                      <a:pt x="2389" y="325"/>
                      <a:pt x="2388" y="325"/>
                      <a:pt x="2385" y="325"/>
                    </a:cubicBezTo>
                    <a:cubicBezTo>
                      <a:pt x="2379" y="332"/>
                      <a:pt x="2369" y="329"/>
                      <a:pt x="2359" y="333"/>
                    </a:cubicBezTo>
                    <a:cubicBezTo>
                      <a:pt x="2351" y="336"/>
                      <a:pt x="2337" y="349"/>
                      <a:pt x="2335" y="354"/>
                    </a:cubicBezTo>
                    <a:cubicBezTo>
                      <a:pt x="2331" y="362"/>
                      <a:pt x="2336" y="371"/>
                      <a:pt x="2335" y="383"/>
                    </a:cubicBezTo>
                    <a:cubicBezTo>
                      <a:pt x="2341" y="386"/>
                      <a:pt x="2345" y="398"/>
                      <a:pt x="2356" y="404"/>
                    </a:cubicBezTo>
                    <a:cubicBezTo>
                      <a:pt x="2360" y="406"/>
                      <a:pt x="2366" y="405"/>
                      <a:pt x="2369" y="408"/>
                    </a:cubicBezTo>
                    <a:cubicBezTo>
                      <a:pt x="2376" y="411"/>
                      <a:pt x="2381" y="419"/>
                      <a:pt x="2379" y="425"/>
                    </a:cubicBezTo>
                    <a:cubicBezTo>
                      <a:pt x="2378" y="435"/>
                      <a:pt x="2366" y="432"/>
                      <a:pt x="2359" y="439"/>
                    </a:cubicBezTo>
                    <a:cubicBezTo>
                      <a:pt x="2360" y="452"/>
                      <a:pt x="2350" y="454"/>
                      <a:pt x="2347" y="462"/>
                    </a:cubicBezTo>
                    <a:cubicBezTo>
                      <a:pt x="2349" y="468"/>
                      <a:pt x="2357" y="467"/>
                      <a:pt x="2358" y="473"/>
                    </a:cubicBezTo>
                    <a:cubicBezTo>
                      <a:pt x="2357" y="480"/>
                      <a:pt x="2344" y="481"/>
                      <a:pt x="2347" y="489"/>
                    </a:cubicBezTo>
                    <a:cubicBezTo>
                      <a:pt x="2359" y="498"/>
                      <a:pt x="2371" y="487"/>
                      <a:pt x="2383" y="486"/>
                    </a:cubicBezTo>
                    <a:cubicBezTo>
                      <a:pt x="2408" y="482"/>
                      <a:pt x="2433" y="489"/>
                      <a:pt x="2449" y="477"/>
                    </a:cubicBezTo>
                    <a:cubicBezTo>
                      <a:pt x="2446" y="465"/>
                      <a:pt x="2461" y="461"/>
                      <a:pt x="2460" y="450"/>
                    </a:cubicBezTo>
                    <a:cubicBezTo>
                      <a:pt x="2459" y="442"/>
                      <a:pt x="2445" y="441"/>
                      <a:pt x="2440" y="435"/>
                    </a:cubicBezTo>
                    <a:close/>
                    <a:moveTo>
                      <a:pt x="2296" y="399"/>
                    </a:moveTo>
                    <a:cubicBezTo>
                      <a:pt x="2287" y="404"/>
                      <a:pt x="2284" y="412"/>
                      <a:pt x="2278" y="414"/>
                    </a:cubicBezTo>
                    <a:cubicBezTo>
                      <a:pt x="2269" y="418"/>
                      <a:pt x="2263" y="415"/>
                      <a:pt x="2261" y="423"/>
                    </a:cubicBezTo>
                    <a:cubicBezTo>
                      <a:pt x="2260" y="430"/>
                      <a:pt x="2267" y="433"/>
                      <a:pt x="2267" y="440"/>
                    </a:cubicBezTo>
                    <a:cubicBezTo>
                      <a:pt x="2263" y="448"/>
                      <a:pt x="2254" y="450"/>
                      <a:pt x="2252" y="460"/>
                    </a:cubicBezTo>
                    <a:cubicBezTo>
                      <a:pt x="2264" y="478"/>
                      <a:pt x="2291" y="462"/>
                      <a:pt x="2305" y="458"/>
                    </a:cubicBezTo>
                    <a:cubicBezTo>
                      <a:pt x="2311" y="456"/>
                      <a:pt x="2320" y="456"/>
                      <a:pt x="2324" y="451"/>
                    </a:cubicBezTo>
                    <a:cubicBezTo>
                      <a:pt x="2328" y="445"/>
                      <a:pt x="2324" y="435"/>
                      <a:pt x="2327" y="427"/>
                    </a:cubicBezTo>
                    <a:cubicBezTo>
                      <a:pt x="2330" y="417"/>
                      <a:pt x="2339" y="416"/>
                      <a:pt x="2338" y="408"/>
                    </a:cubicBezTo>
                    <a:cubicBezTo>
                      <a:pt x="2337" y="396"/>
                      <a:pt x="2311" y="390"/>
                      <a:pt x="2296" y="399"/>
                    </a:cubicBezTo>
                    <a:close/>
                    <a:moveTo>
                      <a:pt x="1882" y="1635"/>
                    </a:moveTo>
                    <a:cubicBezTo>
                      <a:pt x="1876" y="1633"/>
                      <a:pt x="1863" y="1635"/>
                      <a:pt x="1855" y="1632"/>
                    </a:cubicBezTo>
                    <a:cubicBezTo>
                      <a:pt x="1829" y="1622"/>
                      <a:pt x="1813" y="1589"/>
                      <a:pt x="1786" y="1587"/>
                    </a:cubicBezTo>
                    <a:cubicBezTo>
                      <a:pt x="1780" y="1587"/>
                      <a:pt x="1775" y="1590"/>
                      <a:pt x="1768" y="1590"/>
                    </a:cubicBezTo>
                    <a:cubicBezTo>
                      <a:pt x="1757" y="1589"/>
                      <a:pt x="1741" y="1582"/>
                      <a:pt x="1729" y="1581"/>
                    </a:cubicBezTo>
                    <a:cubicBezTo>
                      <a:pt x="1722" y="1580"/>
                      <a:pt x="1712" y="1583"/>
                      <a:pt x="1707" y="1581"/>
                    </a:cubicBezTo>
                    <a:cubicBezTo>
                      <a:pt x="1700" y="1577"/>
                      <a:pt x="1699" y="1564"/>
                      <a:pt x="1694" y="1561"/>
                    </a:cubicBezTo>
                    <a:cubicBezTo>
                      <a:pt x="1689" y="1558"/>
                      <a:pt x="1680" y="1557"/>
                      <a:pt x="1674" y="1554"/>
                    </a:cubicBezTo>
                    <a:cubicBezTo>
                      <a:pt x="1663" y="1550"/>
                      <a:pt x="1654" y="1545"/>
                      <a:pt x="1641" y="1544"/>
                    </a:cubicBezTo>
                    <a:cubicBezTo>
                      <a:pt x="1637" y="1544"/>
                      <a:pt x="1632" y="1546"/>
                      <a:pt x="1628" y="1545"/>
                    </a:cubicBezTo>
                    <a:cubicBezTo>
                      <a:pt x="1621" y="1544"/>
                      <a:pt x="1615" y="1536"/>
                      <a:pt x="1609" y="1532"/>
                    </a:cubicBezTo>
                    <a:cubicBezTo>
                      <a:pt x="1601" y="1527"/>
                      <a:pt x="1593" y="1524"/>
                      <a:pt x="1590" y="1517"/>
                    </a:cubicBezTo>
                    <a:cubicBezTo>
                      <a:pt x="1597" y="1493"/>
                      <a:pt x="1577" y="1486"/>
                      <a:pt x="1572" y="1473"/>
                    </a:cubicBezTo>
                    <a:cubicBezTo>
                      <a:pt x="1570" y="1466"/>
                      <a:pt x="1571" y="1458"/>
                      <a:pt x="1569" y="1452"/>
                    </a:cubicBezTo>
                    <a:cubicBezTo>
                      <a:pt x="1566" y="1444"/>
                      <a:pt x="1558" y="1439"/>
                      <a:pt x="1549" y="1432"/>
                    </a:cubicBezTo>
                    <a:cubicBezTo>
                      <a:pt x="1532" y="1420"/>
                      <a:pt x="1518" y="1408"/>
                      <a:pt x="1495" y="1406"/>
                    </a:cubicBezTo>
                    <a:cubicBezTo>
                      <a:pt x="1485" y="1404"/>
                      <a:pt x="1475" y="1409"/>
                      <a:pt x="1463" y="1408"/>
                    </a:cubicBezTo>
                    <a:cubicBezTo>
                      <a:pt x="1450" y="1407"/>
                      <a:pt x="1433" y="1396"/>
                      <a:pt x="1424" y="1384"/>
                    </a:cubicBezTo>
                    <a:cubicBezTo>
                      <a:pt x="1414" y="1374"/>
                      <a:pt x="1410" y="1364"/>
                      <a:pt x="1401" y="1359"/>
                    </a:cubicBezTo>
                    <a:cubicBezTo>
                      <a:pt x="1394" y="1354"/>
                      <a:pt x="1383" y="1354"/>
                      <a:pt x="1378" y="1349"/>
                    </a:cubicBezTo>
                    <a:cubicBezTo>
                      <a:pt x="1376" y="1346"/>
                      <a:pt x="1376" y="1343"/>
                      <a:pt x="1374" y="1338"/>
                    </a:cubicBezTo>
                    <a:cubicBezTo>
                      <a:pt x="1370" y="1329"/>
                      <a:pt x="1363" y="1325"/>
                      <a:pt x="1368" y="1315"/>
                    </a:cubicBezTo>
                    <a:cubicBezTo>
                      <a:pt x="1359" y="1311"/>
                      <a:pt x="1359" y="1324"/>
                      <a:pt x="1349" y="1322"/>
                    </a:cubicBezTo>
                    <a:cubicBezTo>
                      <a:pt x="1340" y="1310"/>
                      <a:pt x="1333" y="1304"/>
                      <a:pt x="1313" y="1307"/>
                    </a:cubicBezTo>
                    <a:cubicBezTo>
                      <a:pt x="1304" y="1309"/>
                      <a:pt x="1299" y="1321"/>
                      <a:pt x="1289" y="1321"/>
                    </a:cubicBezTo>
                    <a:cubicBezTo>
                      <a:pt x="1280" y="1321"/>
                      <a:pt x="1273" y="1311"/>
                      <a:pt x="1262" y="1310"/>
                    </a:cubicBezTo>
                    <a:cubicBezTo>
                      <a:pt x="1253" y="1308"/>
                      <a:pt x="1244" y="1312"/>
                      <a:pt x="1237" y="1311"/>
                    </a:cubicBezTo>
                    <a:cubicBezTo>
                      <a:pt x="1228" y="1309"/>
                      <a:pt x="1225" y="1301"/>
                      <a:pt x="1216" y="1295"/>
                    </a:cubicBezTo>
                    <a:cubicBezTo>
                      <a:pt x="1210" y="1291"/>
                      <a:pt x="1198" y="1284"/>
                      <a:pt x="1194" y="1284"/>
                    </a:cubicBezTo>
                    <a:cubicBezTo>
                      <a:pt x="1183" y="1284"/>
                      <a:pt x="1175" y="1308"/>
                      <a:pt x="1159" y="1300"/>
                    </a:cubicBezTo>
                    <a:cubicBezTo>
                      <a:pt x="1152" y="1290"/>
                      <a:pt x="1172" y="1285"/>
                      <a:pt x="1163" y="1276"/>
                    </a:cubicBezTo>
                    <a:cubicBezTo>
                      <a:pt x="1156" y="1269"/>
                      <a:pt x="1150" y="1279"/>
                      <a:pt x="1145" y="1283"/>
                    </a:cubicBezTo>
                    <a:cubicBezTo>
                      <a:pt x="1139" y="1287"/>
                      <a:pt x="1133" y="1292"/>
                      <a:pt x="1126" y="1294"/>
                    </a:cubicBezTo>
                    <a:cubicBezTo>
                      <a:pt x="1111" y="1300"/>
                      <a:pt x="1101" y="1297"/>
                      <a:pt x="1089" y="1303"/>
                    </a:cubicBezTo>
                    <a:cubicBezTo>
                      <a:pt x="1078" y="1309"/>
                      <a:pt x="1078" y="1318"/>
                      <a:pt x="1071" y="1330"/>
                    </a:cubicBezTo>
                    <a:cubicBezTo>
                      <a:pt x="1066" y="1339"/>
                      <a:pt x="1055" y="1353"/>
                      <a:pt x="1047" y="1353"/>
                    </a:cubicBezTo>
                    <a:cubicBezTo>
                      <a:pt x="1037" y="1354"/>
                      <a:pt x="1028" y="1340"/>
                      <a:pt x="1020" y="1336"/>
                    </a:cubicBezTo>
                    <a:cubicBezTo>
                      <a:pt x="994" y="1325"/>
                      <a:pt x="982" y="1346"/>
                      <a:pt x="961" y="1346"/>
                    </a:cubicBezTo>
                    <a:cubicBezTo>
                      <a:pt x="941" y="1347"/>
                      <a:pt x="913" y="1315"/>
                      <a:pt x="914" y="1296"/>
                    </a:cubicBezTo>
                    <a:cubicBezTo>
                      <a:pt x="915" y="1285"/>
                      <a:pt x="921" y="1268"/>
                      <a:pt x="922" y="1254"/>
                    </a:cubicBezTo>
                    <a:cubicBezTo>
                      <a:pt x="923" y="1243"/>
                      <a:pt x="931" y="1236"/>
                      <a:pt x="931" y="1226"/>
                    </a:cubicBezTo>
                    <a:cubicBezTo>
                      <a:pt x="931" y="1213"/>
                      <a:pt x="913" y="1202"/>
                      <a:pt x="904" y="1200"/>
                    </a:cubicBezTo>
                    <a:cubicBezTo>
                      <a:pt x="883" y="1197"/>
                      <a:pt x="854" y="1209"/>
                      <a:pt x="830" y="1199"/>
                    </a:cubicBezTo>
                    <a:cubicBezTo>
                      <a:pt x="826" y="1192"/>
                      <a:pt x="836" y="1187"/>
                      <a:pt x="838" y="1179"/>
                    </a:cubicBezTo>
                    <a:cubicBezTo>
                      <a:pt x="840" y="1175"/>
                      <a:pt x="839" y="1169"/>
                      <a:pt x="841" y="1165"/>
                    </a:cubicBezTo>
                    <a:cubicBezTo>
                      <a:pt x="843" y="1158"/>
                      <a:pt x="851" y="1152"/>
                      <a:pt x="854" y="1145"/>
                    </a:cubicBezTo>
                    <a:cubicBezTo>
                      <a:pt x="856" y="1139"/>
                      <a:pt x="857" y="1131"/>
                      <a:pt x="859" y="1123"/>
                    </a:cubicBezTo>
                    <a:cubicBezTo>
                      <a:pt x="862" y="1115"/>
                      <a:pt x="868" y="1110"/>
                      <a:pt x="868" y="1105"/>
                    </a:cubicBezTo>
                    <a:cubicBezTo>
                      <a:pt x="869" y="1097"/>
                      <a:pt x="866" y="1088"/>
                      <a:pt x="861" y="1083"/>
                    </a:cubicBezTo>
                    <a:cubicBezTo>
                      <a:pt x="842" y="1084"/>
                      <a:pt x="830" y="1085"/>
                      <a:pt x="819" y="1090"/>
                    </a:cubicBezTo>
                    <a:cubicBezTo>
                      <a:pt x="795" y="1101"/>
                      <a:pt x="800" y="1134"/>
                      <a:pt x="776" y="1141"/>
                    </a:cubicBezTo>
                    <a:cubicBezTo>
                      <a:pt x="767" y="1144"/>
                      <a:pt x="756" y="1144"/>
                      <a:pt x="747" y="1146"/>
                    </a:cubicBezTo>
                    <a:cubicBezTo>
                      <a:pt x="739" y="1147"/>
                      <a:pt x="729" y="1152"/>
                      <a:pt x="721" y="1151"/>
                    </a:cubicBezTo>
                    <a:cubicBezTo>
                      <a:pt x="712" y="1151"/>
                      <a:pt x="695" y="1142"/>
                      <a:pt x="689" y="1136"/>
                    </a:cubicBezTo>
                    <a:cubicBezTo>
                      <a:pt x="684" y="1130"/>
                      <a:pt x="671" y="1103"/>
                      <a:pt x="670" y="1098"/>
                    </a:cubicBezTo>
                    <a:cubicBezTo>
                      <a:pt x="660" y="1065"/>
                      <a:pt x="671" y="1035"/>
                      <a:pt x="683" y="1012"/>
                    </a:cubicBezTo>
                    <a:cubicBezTo>
                      <a:pt x="686" y="1007"/>
                      <a:pt x="690" y="1003"/>
                      <a:pt x="692" y="997"/>
                    </a:cubicBezTo>
                    <a:cubicBezTo>
                      <a:pt x="695" y="990"/>
                      <a:pt x="693" y="978"/>
                      <a:pt x="696" y="970"/>
                    </a:cubicBezTo>
                    <a:cubicBezTo>
                      <a:pt x="700" y="954"/>
                      <a:pt x="720" y="945"/>
                      <a:pt x="735" y="937"/>
                    </a:cubicBezTo>
                    <a:cubicBezTo>
                      <a:pt x="751" y="929"/>
                      <a:pt x="765" y="915"/>
                      <a:pt x="784" y="914"/>
                    </a:cubicBezTo>
                    <a:cubicBezTo>
                      <a:pt x="793" y="913"/>
                      <a:pt x="807" y="916"/>
                      <a:pt x="816" y="918"/>
                    </a:cubicBezTo>
                    <a:cubicBezTo>
                      <a:pt x="824" y="920"/>
                      <a:pt x="831" y="926"/>
                      <a:pt x="838" y="926"/>
                    </a:cubicBezTo>
                    <a:cubicBezTo>
                      <a:pt x="859" y="928"/>
                      <a:pt x="864" y="912"/>
                      <a:pt x="881" y="903"/>
                    </a:cubicBezTo>
                    <a:cubicBezTo>
                      <a:pt x="898" y="905"/>
                      <a:pt x="910" y="900"/>
                      <a:pt x="925" y="902"/>
                    </a:cubicBezTo>
                    <a:cubicBezTo>
                      <a:pt x="936" y="903"/>
                      <a:pt x="944" y="914"/>
                      <a:pt x="952" y="915"/>
                    </a:cubicBezTo>
                    <a:cubicBezTo>
                      <a:pt x="959" y="916"/>
                      <a:pt x="965" y="908"/>
                      <a:pt x="972" y="909"/>
                    </a:cubicBezTo>
                    <a:cubicBezTo>
                      <a:pt x="979" y="910"/>
                      <a:pt x="990" y="925"/>
                      <a:pt x="991" y="933"/>
                    </a:cubicBezTo>
                    <a:cubicBezTo>
                      <a:pt x="992" y="943"/>
                      <a:pt x="984" y="952"/>
                      <a:pt x="987" y="963"/>
                    </a:cubicBezTo>
                    <a:cubicBezTo>
                      <a:pt x="997" y="974"/>
                      <a:pt x="1016" y="976"/>
                      <a:pt x="1031" y="982"/>
                    </a:cubicBezTo>
                    <a:cubicBezTo>
                      <a:pt x="1041" y="974"/>
                      <a:pt x="1032" y="959"/>
                      <a:pt x="1031" y="947"/>
                    </a:cubicBezTo>
                    <a:cubicBezTo>
                      <a:pt x="1031" y="942"/>
                      <a:pt x="1032" y="938"/>
                      <a:pt x="1031" y="933"/>
                    </a:cubicBezTo>
                    <a:cubicBezTo>
                      <a:pt x="1030" y="925"/>
                      <a:pt x="1027" y="917"/>
                      <a:pt x="1027" y="910"/>
                    </a:cubicBezTo>
                    <a:cubicBezTo>
                      <a:pt x="1027" y="879"/>
                      <a:pt x="1052" y="864"/>
                      <a:pt x="1074" y="851"/>
                    </a:cubicBezTo>
                    <a:cubicBezTo>
                      <a:pt x="1083" y="846"/>
                      <a:pt x="1090" y="836"/>
                      <a:pt x="1098" y="832"/>
                    </a:cubicBezTo>
                    <a:cubicBezTo>
                      <a:pt x="1109" y="827"/>
                      <a:pt x="1118" y="825"/>
                      <a:pt x="1127" y="820"/>
                    </a:cubicBezTo>
                    <a:cubicBezTo>
                      <a:pt x="1144" y="811"/>
                      <a:pt x="1158" y="803"/>
                      <a:pt x="1172" y="792"/>
                    </a:cubicBezTo>
                    <a:cubicBezTo>
                      <a:pt x="1178" y="778"/>
                      <a:pt x="1172" y="759"/>
                      <a:pt x="1173" y="744"/>
                    </a:cubicBezTo>
                    <a:cubicBezTo>
                      <a:pt x="1179" y="741"/>
                      <a:pt x="1184" y="746"/>
                      <a:pt x="1191" y="745"/>
                    </a:cubicBezTo>
                    <a:cubicBezTo>
                      <a:pt x="1201" y="743"/>
                      <a:pt x="1202" y="729"/>
                      <a:pt x="1207" y="723"/>
                    </a:cubicBezTo>
                    <a:cubicBezTo>
                      <a:pt x="1211" y="720"/>
                      <a:pt x="1220" y="717"/>
                      <a:pt x="1224" y="714"/>
                    </a:cubicBezTo>
                    <a:cubicBezTo>
                      <a:pt x="1234" y="706"/>
                      <a:pt x="1238" y="694"/>
                      <a:pt x="1246" y="691"/>
                    </a:cubicBezTo>
                    <a:cubicBezTo>
                      <a:pt x="1250" y="690"/>
                      <a:pt x="1257" y="690"/>
                      <a:pt x="1262" y="689"/>
                    </a:cubicBezTo>
                    <a:cubicBezTo>
                      <a:pt x="1269" y="687"/>
                      <a:pt x="1278" y="679"/>
                      <a:pt x="1289" y="675"/>
                    </a:cubicBezTo>
                    <a:cubicBezTo>
                      <a:pt x="1296" y="673"/>
                      <a:pt x="1312" y="672"/>
                      <a:pt x="1314" y="670"/>
                    </a:cubicBezTo>
                    <a:cubicBezTo>
                      <a:pt x="1318" y="666"/>
                      <a:pt x="1314" y="657"/>
                      <a:pt x="1316" y="652"/>
                    </a:cubicBezTo>
                    <a:cubicBezTo>
                      <a:pt x="1321" y="627"/>
                      <a:pt x="1359" y="621"/>
                      <a:pt x="1381" y="613"/>
                    </a:cubicBezTo>
                    <a:cubicBezTo>
                      <a:pt x="1397" y="607"/>
                      <a:pt x="1413" y="596"/>
                      <a:pt x="1430" y="599"/>
                    </a:cubicBezTo>
                    <a:cubicBezTo>
                      <a:pt x="1427" y="611"/>
                      <a:pt x="1411" y="607"/>
                      <a:pt x="1414" y="622"/>
                    </a:cubicBezTo>
                    <a:cubicBezTo>
                      <a:pt x="1417" y="642"/>
                      <a:pt x="1444" y="616"/>
                      <a:pt x="1452" y="613"/>
                    </a:cubicBezTo>
                    <a:cubicBezTo>
                      <a:pt x="1465" y="607"/>
                      <a:pt x="1488" y="604"/>
                      <a:pt x="1506" y="597"/>
                    </a:cubicBezTo>
                    <a:cubicBezTo>
                      <a:pt x="1522" y="591"/>
                      <a:pt x="1550" y="583"/>
                      <a:pt x="1535" y="565"/>
                    </a:cubicBezTo>
                    <a:cubicBezTo>
                      <a:pt x="1523" y="564"/>
                      <a:pt x="1517" y="579"/>
                      <a:pt x="1506" y="584"/>
                    </a:cubicBezTo>
                    <a:cubicBezTo>
                      <a:pt x="1499" y="585"/>
                      <a:pt x="1500" y="578"/>
                      <a:pt x="1494" y="577"/>
                    </a:cubicBezTo>
                    <a:cubicBezTo>
                      <a:pt x="1488" y="576"/>
                      <a:pt x="1485" y="583"/>
                      <a:pt x="1478" y="582"/>
                    </a:cubicBezTo>
                    <a:cubicBezTo>
                      <a:pt x="1472" y="580"/>
                      <a:pt x="1464" y="571"/>
                      <a:pt x="1463" y="564"/>
                    </a:cubicBezTo>
                    <a:cubicBezTo>
                      <a:pt x="1460" y="545"/>
                      <a:pt x="1478" y="537"/>
                      <a:pt x="1486" y="524"/>
                    </a:cubicBezTo>
                    <a:cubicBezTo>
                      <a:pt x="1481" y="507"/>
                      <a:pt x="1458" y="520"/>
                      <a:pt x="1444" y="513"/>
                    </a:cubicBezTo>
                    <a:cubicBezTo>
                      <a:pt x="1445" y="503"/>
                      <a:pt x="1455" y="496"/>
                      <a:pt x="1467" y="495"/>
                    </a:cubicBezTo>
                    <a:cubicBezTo>
                      <a:pt x="1477" y="493"/>
                      <a:pt x="1498" y="494"/>
                      <a:pt x="1504" y="499"/>
                    </a:cubicBezTo>
                    <a:cubicBezTo>
                      <a:pt x="1507" y="502"/>
                      <a:pt x="1504" y="509"/>
                      <a:pt x="1510" y="513"/>
                    </a:cubicBezTo>
                    <a:cubicBezTo>
                      <a:pt x="1515" y="519"/>
                      <a:pt x="1522" y="518"/>
                      <a:pt x="1530" y="517"/>
                    </a:cubicBezTo>
                    <a:cubicBezTo>
                      <a:pt x="1532" y="504"/>
                      <a:pt x="1513" y="507"/>
                      <a:pt x="1515" y="499"/>
                    </a:cubicBezTo>
                    <a:cubicBezTo>
                      <a:pt x="1530" y="489"/>
                      <a:pt x="1555" y="497"/>
                      <a:pt x="1573" y="495"/>
                    </a:cubicBezTo>
                    <a:cubicBezTo>
                      <a:pt x="1584" y="493"/>
                      <a:pt x="1595" y="485"/>
                      <a:pt x="1604" y="480"/>
                    </a:cubicBezTo>
                    <a:cubicBezTo>
                      <a:pt x="1613" y="475"/>
                      <a:pt x="1625" y="466"/>
                      <a:pt x="1634" y="474"/>
                    </a:cubicBezTo>
                    <a:cubicBezTo>
                      <a:pt x="1637" y="484"/>
                      <a:pt x="1626" y="487"/>
                      <a:pt x="1621" y="491"/>
                    </a:cubicBezTo>
                    <a:cubicBezTo>
                      <a:pt x="1604" y="506"/>
                      <a:pt x="1586" y="524"/>
                      <a:pt x="1573" y="541"/>
                    </a:cubicBezTo>
                    <a:cubicBezTo>
                      <a:pt x="1581" y="549"/>
                      <a:pt x="1596" y="545"/>
                      <a:pt x="1610" y="547"/>
                    </a:cubicBezTo>
                    <a:cubicBezTo>
                      <a:pt x="1615" y="548"/>
                      <a:pt x="1622" y="549"/>
                      <a:pt x="1628" y="550"/>
                    </a:cubicBezTo>
                    <a:cubicBezTo>
                      <a:pt x="1634" y="551"/>
                      <a:pt x="1642" y="551"/>
                      <a:pt x="1647" y="553"/>
                    </a:cubicBezTo>
                    <a:cubicBezTo>
                      <a:pt x="1656" y="555"/>
                      <a:pt x="1659" y="565"/>
                      <a:pt x="1668" y="565"/>
                    </a:cubicBezTo>
                    <a:cubicBezTo>
                      <a:pt x="1683" y="565"/>
                      <a:pt x="1683" y="548"/>
                      <a:pt x="1675" y="538"/>
                    </a:cubicBezTo>
                    <a:cubicBezTo>
                      <a:pt x="1677" y="527"/>
                      <a:pt x="1682" y="522"/>
                      <a:pt x="1678" y="515"/>
                    </a:cubicBezTo>
                    <a:cubicBezTo>
                      <a:pt x="1671" y="501"/>
                      <a:pt x="1646" y="514"/>
                      <a:pt x="1645" y="497"/>
                    </a:cubicBezTo>
                    <a:cubicBezTo>
                      <a:pt x="1644" y="486"/>
                      <a:pt x="1654" y="486"/>
                      <a:pt x="1658" y="478"/>
                    </a:cubicBezTo>
                    <a:cubicBezTo>
                      <a:pt x="1656" y="456"/>
                      <a:pt x="1676" y="455"/>
                      <a:pt x="1674" y="435"/>
                    </a:cubicBezTo>
                    <a:cubicBezTo>
                      <a:pt x="1673" y="427"/>
                      <a:pt x="1666" y="427"/>
                      <a:pt x="1660" y="420"/>
                    </a:cubicBezTo>
                    <a:cubicBezTo>
                      <a:pt x="1657" y="416"/>
                      <a:pt x="1656" y="408"/>
                      <a:pt x="1652" y="405"/>
                    </a:cubicBezTo>
                    <a:cubicBezTo>
                      <a:pt x="1641" y="395"/>
                      <a:pt x="1617" y="397"/>
                      <a:pt x="1616" y="379"/>
                    </a:cubicBezTo>
                    <a:cubicBezTo>
                      <a:pt x="1615" y="367"/>
                      <a:pt x="1618" y="358"/>
                      <a:pt x="1617" y="346"/>
                    </a:cubicBezTo>
                    <a:cubicBezTo>
                      <a:pt x="1615" y="335"/>
                      <a:pt x="1607" y="304"/>
                      <a:pt x="1598" y="302"/>
                    </a:cubicBezTo>
                    <a:cubicBezTo>
                      <a:pt x="1585" y="299"/>
                      <a:pt x="1572" y="320"/>
                      <a:pt x="1558" y="327"/>
                    </a:cubicBezTo>
                    <a:cubicBezTo>
                      <a:pt x="1549" y="331"/>
                      <a:pt x="1538" y="335"/>
                      <a:pt x="1530" y="334"/>
                    </a:cubicBezTo>
                    <a:cubicBezTo>
                      <a:pt x="1524" y="333"/>
                      <a:pt x="1514" y="325"/>
                      <a:pt x="1513" y="315"/>
                    </a:cubicBezTo>
                    <a:cubicBezTo>
                      <a:pt x="1512" y="303"/>
                      <a:pt x="1521" y="303"/>
                      <a:pt x="1523" y="290"/>
                    </a:cubicBezTo>
                    <a:cubicBezTo>
                      <a:pt x="1521" y="283"/>
                      <a:pt x="1513" y="285"/>
                      <a:pt x="1506" y="279"/>
                    </a:cubicBezTo>
                    <a:cubicBezTo>
                      <a:pt x="1498" y="273"/>
                      <a:pt x="1491" y="260"/>
                      <a:pt x="1481" y="258"/>
                    </a:cubicBezTo>
                    <a:cubicBezTo>
                      <a:pt x="1475" y="257"/>
                      <a:pt x="1468" y="262"/>
                      <a:pt x="1463" y="263"/>
                    </a:cubicBezTo>
                    <a:cubicBezTo>
                      <a:pt x="1446" y="264"/>
                      <a:pt x="1432" y="252"/>
                      <a:pt x="1419" y="255"/>
                    </a:cubicBezTo>
                    <a:cubicBezTo>
                      <a:pt x="1404" y="258"/>
                      <a:pt x="1405" y="282"/>
                      <a:pt x="1390" y="286"/>
                    </a:cubicBezTo>
                    <a:cubicBezTo>
                      <a:pt x="1392" y="297"/>
                      <a:pt x="1377" y="304"/>
                      <a:pt x="1376" y="313"/>
                    </a:cubicBezTo>
                    <a:cubicBezTo>
                      <a:pt x="1375" y="319"/>
                      <a:pt x="1378" y="325"/>
                      <a:pt x="1378" y="331"/>
                    </a:cubicBezTo>
                    <a:cubicBezTo>
                      <a:pt x="1381" y="384"/>
                      <a:pt x="1337" y="409"/>
                      <a:pt x="1285" y="408"/>
                    </a:cubicBezTo>
                    <a:cubicBezTo>
                      <a:pt x="1275" y="417"/>
                      <a:pt x="1278" y="435"/>
                      <a:pt x="1272" y="449"/>
                    </a:cubicBezTo>
                    <a:cubicBezTo>
                      <a:pt x="1267" y="460"/>
                      <a:pt x="1251" y="472"/>
                      <a:pt x="1240" y="471"/>
                    </a:cubicBezTo>
                    <a:cubicBezTo>
                      <a:pt x="1231" y="470"/>
                      <a:pt x="1222" y="459"/>
                      <a:pt x="1222" y="451"/>
                    </a:cubicBezTo>
                    <a:cubicBezTo>
                      <a:pt x="1222" y="442"/>
                      <a:pt x="1236" y="436"/>
                      <a:pt x="1227" y="425"/>
                    </a:cubicBezTo>
                    <a:cubicBezTo>
                      <a:pt x="1229" y="418"/>
                      <a:pt x="1245" y="414"/>
                      <a:pt x="1243" y="402"/>
                    </a:cubicBezTo>
                    <a:cubicBezTo>
                      <a:pt x="1241" y="390"/>
                      <a:pt x="1224" y="396"/>
                      <a:pt x="1208" y="394"/>
                    </a:cubicBezTo>
                    <a:cubicBezTo>
                      <a:pt x="1197" y="393"/>
                      <a:pt x="1183" y="386"/>
                      <a:pt x="1173" y="381"/>
                    </a:cubicBezTo>
                    <a:cubicBezTo>
                      <a:pt x="1160" y="374"/>
                      <a:pt x="1149" y="359"/>
                      <a:pt x="1132" y="357"/>
                    </a:cubicBezTo>
                    <a:cubicBezTo>
                      <a:pt x="1122" y="356"/>
                      <a:pt x="1113" y="361"/>
                      <a:pt x="1108" y="355"/>
                    </a:cubicBezTo>
                    <a:cubicBezTo>
                      <a:pt x="1103" y="349"/>
                      <a:pt x="1110" y="340"/>
                      <a:pt x="1110" y="336"/>
                    </a:cubicBezTo>
                    <a:cubicBezTo>
                      <a:pt x="1110" y="329"/>
                      <a:pt x="1098" y="327"/>
                      <a:pt x="1097" y="321"/>
                    </a:cubicBezTo>
                    <a:cubicBezTo>
                      <a:pt x="1097" y="316"/>
                      <a:pt x="1109" y="301"/>
                      <a:pt x="1114" y="297"/>
                    </a:cubicBezTo>
                    <a:cubicBezTo>
                      <a:pt x="1123" y="290"/>
                      <a:pt x="1139" y="281"/>
                      <a:pt x="1153" y="274"/>
                    </a:cubicBezTo>
                    <a:cubicBezTo>
                      <a:pt x="1167" y="266"/>
                      <a:pt x="1183" y="258"/>
                      <a:pt x="1196" y="254"/>
                    </a:cubicBezTo>
                    <a:cubicBezTo>
                      <a:pt x="1202" y="252"/>
                      <a:pt x="1209" y="252"/>
                      <a:pt x="1214" y="250"/>
                    </a:cubicBezTo>
                    <a:cubicBezTo>
                      <a:pt x="1228" y="245"/>
                      <a:pt x="1238" y="235"/>
                      <a:pt x="1251" y="231"/>
                    </a:cubicBezTo>
                    <a:cubicBezTo>
                      <a:pt x="1258" y="229"/>
                      <a:pt x="1265" y="230"/>
                      <a:pt x="1273" y="228"/>
                    </a:cubicBezTo>
                    <a:cubicBezTo>
                      <a:pt x="1292" y="224"/>
                      <a:pt x="1305" y="211"/>
                      <a:pt x="1321" y="208"/>
                    </a:cubicBezTo>
                    <a:cubicBezTo>
                      <a:pt x="1318" y="221"/>
                      <a:pt x="1303" y="223"/>
                      <a:pt x="1300" y="236"/>
                    </a:cubicBezTo>
                    <a:cubicBezTo>
                      <a:pt x="1313" y="260"/>
                      <a:pt x="1337" y="230"/>
                      <a:pt x="1352" y="230"/>
                    </a:cubicBezTo>
                    <a:cubicBezTo>
                      <a:pt x="1367" y="230"/>
                      <a:pt x="1381" y="251"/>
                      <a:pt x="1390" y="231"/>
                    </a:cubicBezTo>
                    <a:cubicBezTo>
                      <a:pt x="1387" y="221"/>
                      <a:pt x="1377" y="215"/>
                      <a:pt x="1368" y="209"/>
                    </a:cubicBezTo>
                    <a:cubicBezTo>
                      <a:pt x="1359" y="204"/>
                      <a:pt x="1346" y="199"/>
                      <a:pt x="1347" y="187"/>
                    </a:cubicBezTo>
                    <a:cubicBezTo>
                      <a:pt x="1357" y="182"/>
                      <a:pt x="1361" y="195"/>
                      <a:pt x="1370" y="195"/>
                    </a:cubicBezTo>
                    <a:cubicBezTo>
                      <a:pt x="1375" y="195"/>
                      <a:pt x="1382" y="189"/>
                      <a:pt x="1387" y="187"/>
                    </a:cubicBezTo>
                    <a:cubicBezTo>
                      <a:pt x="1399" y="183"/>
                      <a:pt x="1418" y="181"/>
                      <a:pt x="1427" y="173"/>
                    </a:cubicBezTo>
                    <a:cubicBezTo>
                      <a:pt x="1433" y="169"/>
                      <a:pt x="1432" y="161"/>
                      <a:pt x="1436" y="154"/>
                    </a:cubicBezTo>
                    <a:cubicBezTo>
                      <a:pt x="1440" y="149"/>
                      <a:pt x="1449" y="148"/>
                      <a:pt x="1453" y="142"/>
                    </a:cubicBezTo>
                    <a:cubicBezTo>
                      <a:pt x="1457" y="136"/>
                      <a:pt x="1453" y="130"/>
                      <a:pt x="1459" y="127"/>
                    </a:cubicBezTo>
                    <a:cubicBezTo>
                      <a:pt x="1472" y="121"/>
                      <a:pt x="1488" y="128"/>
                      <a:pt x="1503" y="127"/>
                    </a:cubicBezTo>
                    <a:cubicBezTo>
                      <a:pt x="1510" y="126"/>
                      <a:pt x="1514" y="120"/>
                      <a:pt x="1521" y="121"/>
                    </a:cubicBezTo>
                    <a:cubicBezTo>
                      <a:pt x="1533" y="122"/>
                      <a:pt x="1540" y="142"/>
                      <a:pt x="1549" y="148"/>
                    </a:cubicBezTo>
                    <a:cubicBezTo>
                      <a:pt x="1555" y="152"/>
                      <a:pt x="1566" y="152"/>
                      <a:pt x="1568" y="160"/>
                    </a:cubicBezTo>
                    <a:cubicBezTo>
                      <a:pt x="1570" y="176"/>
                      <a:pt x="1546" y="177"/>
                      <a:pt x="1532" y="186"/>
                    </a:cubicBezTo>
                    <a:cubicBezTo>
                      <a:pt x="1525" y="190"/>
                      <a:pt x="1522" y="199"/>
                      <a:pt x="1513" y="202"/>
                    </a:cubicBezTo>
                    <a:cubicBezTo>
                      <a:pt x="1489" y="211"/>
                      <a:pt x="1454" y="192"/>
                      <a:pt x="1446" y="218"/>
                    </a:cubicBezTo>
                    <a:cubicBezTo>
                      <a:pt x="1457" y="234"/>
                      <a:pt x="1477" y="217"/>
                      <a:pt x="1491" y="217"/>
                    </a:cubicBezTo>
                    <a:cubicBezTo>
                      <a:pt x="1500" y="217"/>
                      <a:pt x="1512" y="226"/>
                      <a:pt x="1518" y="232"/>
                    </a:cubicBezTo>
                    <a:cubicBezTo>
                      <a:pt x="1524" y="238"/>
                      <a:pt x="1526" y="249"/>
                      <a:pt x="1532" y="253"/>
                    </a:cubicBezTo>
                    <a:cubicBezTo>
                      <a:pt x="1536" y="255"/>
                      <a:pt x="1543" y="254"/>
                      <a:pt x="1549" y="256"/>
                    </a:cubicBezTo>
                    <a:cubicBezTo>
                      <a:pt x="1565" y="261"/>
                      <a:pt x="1579" y="270"/>
                      <a:pt x="1597" y="266"/>
                    </a:cubicBezTo>
                    <a:cubicBezTo>
                      <a:pt x="1603" y="255"/>
                      <a:pt x="1584" y="252"/>
                      <a:pt x="1591" y="244"/>
                    </a:cubicBezTo>
                    <a:cubicBezTo>
                      <a:pt x="1603" y="245"/>
                      <a:pt x="1611" y="250"/>
                      <a:pt x="1620" y="254"/>
                    </a:cubicBezTo>
                    <a:cubicBezTo>
                      <a:pt x="1633" y="244"/>
                      <a:pt x="1642" y="243"/>
                      <a:pt x="1641" y="228"/>
                    </a:cubicBezTo>
                    <a:cubicBezTo>
                      <a:pt x="1641" y="215"/>
                      <a:pt x="1624" y="215"/>
                      <a:pt x="1624" y="200"/>
                    </a:cubicBezTo>
                    <a:cubicBezTo>
                      <a:pt x="1625" y="192"/>
                      <a:pt x="1630" y="188"/>
                      <a:pt x="1637" y="188"/>
                    </a:cubicBezTo>
                    <a:cubicBezTo>
                      <a:pt x="1651" y="187"/>
                      <a:pt x="1655" y="209"/>
                      <a:pt x="1666" y="210"/>
                    </a:cubicBezTo>
                    <a:cubicBezTo>
                      <a:pt x="1672" y="211"/>
                      <a:pt x="1691" y="202"/>
                      <a:pt x="1695" y="200"/>
                    </a:cubicBezTo>
                    <a:cubicBezTo>
                      <a:pt x="1700" y="198"/>
                      <a:pt x="1716" y="188"/>
                      <a:pt x="1717" y="182"/>
                    </a:cubicBezTo>
                    <a:cubicBezTo>
                      <a:pt x="1718" y="174"/>
                      <a:pt x="1700" y="163"/>
                      <a:pt x="1691" y="160"/>
                    </a:cubicBezTo>
                    <a:cubicBezTo>
                      <a:pt x="1679" y="155"/>
                      <a:pt x="1667" y="156"/>
                      <a:pt x="1662" y="145"/>
                    </a:cubicBezTo>
                    <a:cubicBezTo>
                      <a:pt x="1660" y="140"/>
                      <a:pt x="1664" y="134"/>
                      <a:pt x="1659" y="130"/>
                    </a:cubicBezTo>
                    <a:cubicBezTo>
                      <a:pt x="1658" y="124"/>
                      <a:pt x="1666" y="120"/>
                      <a:pt x="1665" y="114"/>
                    </a:cubicBezTo>
                    <a:cubicBezTo>
                      <a:pt x="1663" y="108"/>
                      <a:pt x="1656" y="109"/>
                      <a:pt x="1648" y="105"/>
                    </a:cubicBezTo>
                    <a:cubicBezTo>
                      <a:pt x="1642" y="103"/>
                      <a:pt x="1636" y="97"/>
                      <a:pt x="1631" y="95"/>
                    </a:cubicBezTo>
                    <a:cubicBezTo>
                      <a:pt x="1624" y="94"/>
                      <a:pt x="1617" y="95"/>
                      <a:pt x="1612" y="93"/>
                    </a:cubicBezTo>
                    <a:cubicBezTo>
                      <a:pt x="1593" y="86"/>
                      <a:pt x="1596" y="70"/>
                      <a:pt x="1583" y="62"/>
                    </a:cubicBezTo>
                    <a:cubicBezTo>
                      <a:pt x="1566" y="64"/>
                      <a:pt x="1552" y="56"/>
                      <a:pt x="1540" y="63"/>
                    </a:cubicBezTo>
                    <a:cubicBezTo>
                      <a:pt x="1525" y="55"/>
                      <a:pt x="1502" y="65"/>
                      <a:pt x="1483" y="63"/>
                    </a:cubicBezTo>
                    <a:cubicBezTo>
                      <a:pt x="1477" y="62"/>
                      <a:pt x="1472" y="59"/>
                      <a:pt x="1466" y="59"/>
                    </a:cubicBezTo>
                    <a:cubicBezTo>
                      <a:pt x="1437" y="56"/>
                      <a:pt x="1396" y="74"/>
                      <a:pt x="1385" y="88"/>
                    </a:cubicBezTo>
                    <a:cubicBezTo>
                      <a:pt x="1382" y="90"/>
                      <a:pt x="1374" y="104"/>
                      <a:pt x="1376" y="111"/>
                    </a:cubicBezTo>
                    <a:cubicBezTo>
                      <a:pt x="1379" y="123"/>
                      <a:pt x="1401" y="114"/>
                      <a:pt x="1407" y="125"/>
                    </a:cubicBezTo>
                    <a:cubicBezTo>
                      <a:pt x="1406" y="139"/>
                      <a:pt x="1391" y="146"/>
                      <a:pt x="1379" y="152"/>
                    </a:cubicBezTo>
                    <a:cubicBezTo>
                      <a:pt x="1368" y="158"/>
                      <a:pt x="1354" y="172"/>
                      <a:pt x="1342" y="164"/>
                    </a:cubicBezTo>
                    <a:cubicBezTo>
                      <a:pt x="1338" y="152"/>
                      <a:pt x="1356" y="152"/>
                      <a:pt x="1351" y="142"/>
                    </a:cubicBezTo>
                    <a:cubicBezTo>
                      <a:pt x="1348" y="134"/>
                      <a:pt x="1334" y="139"/>
                      <a:pt x="1328" y="132"/>
                    </a:cubicBezTo>
                    <a:cubicBezTo>
                      <a:pt x="1319" y="122"/>
                      <a:pt x="1329" y="107"/>
                      <a:pt x="1327" y="92"/>
                    </a:cubicBezTo>
                    <a:cubicBezTo>
                      <a:pt x="1339" y="69"/>
                      <a:pt x="1387" y="82"/>
                      <a:pt x="1400" y="60"/>
                    </a:cubicBezTo>
                    <a:cubicBezTo>
                      <a:pt x="1398" y="52"/>
                      <a:pt x="1391" y="56"/>
                      <a:pt x="1386" y="54"/>
                    </a:cubicBezTo>
                    <a:cubicBezTo>
                      <a:pt x="1380" y="51"/>
                      <a:pt x="1379" y="46"/>
                      <a:pt x="1372" y="46"/>
                    </a:cubicBezTo>
                    <a:cubicBezTo>
                      <a:pt x="1367" y="46"/>
                      <a:pt x="1359" y="53"/>
                      <a:pt x="1352" y="55"/>
                    </a:cubicBezTo>
                    <a:cubicBezTo>
                      <a:pt x="1344" y="58"/>
                      <a:pt x="1337" y="61"/>
                      <a:pt x="1331" y="64"/>
                    </a:cubicBezTo>
                    <a:cubicBezTo>
                      <a:pt x="1319" y="72"/>
                      <a:pt x="1314" y="92"/>
                      <a:pt x="1299" y="89"/>
                    </a:cubicBezTo>
                    <a:cubicBezTo>
                      <a:pt x="1295" y="77"/>
                      <a:pt x="1313" y="70"/>
                      <a:pt x="1311" y="60"/>
                    </a:cubicBezTo>
                    <a:cubicBezTo>
                      <a:pt x="1307" y="53"/>
                      <a:pt x="1297" y="56"/>
                      <a:pt x="1290" y="56"/>
                    </a:cubicBezTo>
                    <a:cubicBezTo>
                      <a:pt x="1269" y="58"/>
                      <a:pt x="1253" y="63"/>
                      <a:pt x="1245" y="74"/>
                    </a:cubicBezTo>
                    <a:cubicBezTo>
                      <a:pt x="1238" y="73"/>
                      <a:pt x="1228" y="69"/>
                      <a:pt x="1223" y="75"/>
                    </a:cubicBezTo>
                    <a:cubicBezTo>
                      <a:pt x="1228" y="84"/>
                      <a:pt x="1238" y="97"/>
                      <a:pt x="1249" y="99"/>
                    </a:cubicBezTo>
                    <a:cubicBezTo>
                      <a:pt x="1256" y="100"/>
                      <a:pt x="1264" y="93"/>
                      <a:pt x="1272" y="99"/>
                    </a:cubicBezTo>
                    <a:cubicBezTo>
                      <a:pt x="1274" y="111"/>
                      <a:pt x="1258" y="110"/>
                      <a:pt x="1258" y="122"/>
                    </a:cubicBezTo>
                    <a:cubicBezTo>
                      <a:pt x="1257" y="129"/>
                      <a:pt x="1266" y="133"/>
                      <a:pt x="1265" y="140"/>
                    </a:cubicBezTo>
                    <a:cubicBezTo>
                      <a:pt x="1264" y="149"/>
                      <a:pt x="1239" y="161"/>
                      <a:pt x="1230" y="156"/>
                    </a:cubicBezTo>
                    <a:cubicBezTo>
                      <a:pt x="1230" y="145"/>
                      <a:pt x="1244" y="148"/>
                      <a:pt x="1244" y="138"/>
                    </a:cubicBezTo>
                    <a:cubicBezTo>
                      <a:pt x="1244" y="133"/>
                      <a:pt x="1237" y="127"/>
                      <a:pt x="1232" y="127"/>
                    </a:cubicBezTo>
                    <a:cubicBezTo>
                      <a:pt x="1223" y="125"/>
                      <a:pt x="1208" y="131"/>
                      <a:pt x="1202" y="138"/>
                    </a:cubicBezTo>
                    <a:cubicBezTo>
                      <a:pt x="1197" y="143"/>
                      <a:pt x="1197" y="152"/>
                      <a:pt x="1191" y="157"/>
                    </a:cubicBezTo>
                    <a:cubicBezTo>
                      <a:pt x="1181" y="163"/>
                      <a:pt x="1168" y="160"/>
                      <a:pt x="1156" y="160"/>
                    </a:cubicBezTo>
                    <a:cubicBezTo>
                      <a:pt x="1134" y="161"/>
                      <a:pt x="1121" y="162"/>
                      <a:pt x="1105" y="153"/>
                    </a:cubicBezTo>
                    <a:cubicBezTo>
                      <a:pt x="1100" y="151"/>
                      <a:pt x="1091" y="146"/>
                      <a:pt x="1091" y="139"/>
                    </a:cubicBezTo>
                    <a:cubicBezTo>
                      <a:pt x="1109" y="138"/>
                      <a:pt x="1126" y="147"/>
                      <a:pt x="1146" y="143"/>
                    </a:cubicBezTo>
                    <a:cubicBezTo>
                      <a:pt x="1153" y="142"/>
                      <a:pt x="1156" y="135"/>
                      <a:pt x="1163" y="132"/>
                    </a:cubicBezTo>
                    <a:cubicBezTo>
                      <a:pt x="1170" y="129"/>
                      <a:pt x="1179" y="132"/>
                      <a:pt x="1182" y="124"/>
                    </a:cubicBezTo>
                    <a:cubicBezTo>
                      <a:pt x="1181" y="111"/>
                      <a:pt x="1165" y="115"/>
                      <a:pt x="1164" y="104"/>
                    </a:cubicBezTo>
                    <a:cubicBezTo>
                      <a:pt x="1163" y="98"/>
                      <a:pt x="1172" y="85"/>
                      <a:pt x="1178" y="80"/>
                    </a:cubicBezTo>
                    <a:cubicBezTo>
                      <a:pt x="1185" y="73"/>
                      <a:pt x="1197" y="72"/>
                      <a:pt x="1200" y="64"/>
                    </a:cubicBezTo>
                    <a:cubicBezTo>
                      <a:pt x="1194" y="53"/>
                      <a:pt x="1182" y="65"/>
                      <a:pt x="1173" y="66"/>
                    </a:cubicBezTo>
                    <a:cubicBezTo>
                      <a:pt x="1167" y="67"/>
                      <a:pt x="1162" y="65"/>
                      <a:pt x="1157" y="66"/>
                    </a:cubicBezTo>
                    <a:cubicBezTo>
                      <a:pt x="1146" y="69"/>
                      <a:pt x="1140" y="79"/>
                      <a:pt x="1133" y="83"/>
                    </a:cubicBezTo>
                    <a:cubicBezTo>
                      <a:pt x="1125" y="82"/>
                      <a:pt x="1124" y="73"/>
                      <a:pt x="1116" y="72"/>
                    </a:cubicBezTo>
                    <a:cubicBezTo>
                      <a:pt x="1106" y="80"/>
                      <a:pt x="1097" y="74"/>
                      <a:pt x="1087" y="72"/>
                    </a:cubicBezTo>
                    <a:cubicBezTo>
                      <a:pt x="1082" y="71"/>
                      <a:pt x="1075" y="71"/>
                      <a:pt x="1071" y="70"/>
                    </a:cubicBezTo>
                    <a:cubicBezTo>
                      <a:pt x="1062" y="67"/>
                      <a:pt x="1057" y="56"/>
                      <a:pt x="1046" y="53"/>
                    </a:cubicBezTo>
                    <a:cubicBezTo>
                      <a:pt x="1039" y="51"/>
                      <a:pt x="1029" y="53"/>
                      <a:pt x="1018" y="52"/>
                    </a:cubicBezTo>
                    <a:cubicBezTo>
                      <a:pt x="999" y="50"/>
                      <a:pt x="982" y="44"/>
                      <a:pt x="967" y="46"/>
                    </a:cubicBezTo>
                    <a:cubicBezTo>
                      <a:pt x="947" y="49"/>
                      <a:pt x="935" y="62"/>
                      <a:pt x="920" y="69"/>
                    </a:cubicBezTo>
                    <a:cubicBezTo>
                      <a:pt x="901" y="76"/>
                      <a:pt x="868" y="86"/>
                      <a:pt x="894" y="102"/>
                    </a:cubicBezTo>
                    <a:cubicBezTo>
                      <a:pt x="919" y="101"/>
                      <a:pt x="941" y="90"/>
                      <a:pt x="963" y="90"/>
                    </a:cubicBezTo>
                    <a:cubicBezTo>
                      <a:pt x="966" y="103"/>
                      <a:pt x="956" y="115"/>
                      <a:pt x="951" y="124"/>
                    </a:cubicBezTo>
                    <a:cubicBezTo>
                      <a:pt x="947" y="131"/>
                      <a:pt x="948" y="136"/>
                      <a:pt x="944" y="139"/>
                    </a:cubicBezTo>
                    <a:cubicBezTo>
                      <a:pt x="928" y="150"/>
                      <a:pt x="900" y="130"/>
                      <a:pt x="880" y="127"/>
                    </a:cubicBezTo>
                    <a:cubicBezTo>
                      <a:pt x="868" y="125"/>
                      <a:pt x="859" y="130"/>
                      <a:pt x="848" y="130"/>
                    </a:cubicBezTo>
                    <a:cubicBezTo>
                      <a:pt x="838" y="130"/>
                      <a:pt x="828" y="125"/>
                      <a:pt x="818" y="130"/>
                    </a:cubicBezTo>
                    <a:cubicBezTo>
                      <a:pt x="809" y="127"/>
                      <a:pt x="811" y="117"/>
                      <a:pt x="803" y="115"/>
                    </a:cubicBezTo>
                    <a:cubicBezTo>
                      <a:pt x="796" y="114"/>
                      <a:pt x="789" y="121"/>
                      <a:pt x="784" y="122"/>
                    </a:cubicBezTo>
                    <a:cubicBezTo>
                      <a:pt x="778" y="123"/>
                      <a:pt x="773" y="121"/>
                      <a:pt x="767" y="121"/>
                    </a:cubicBezTo>
                    <a:cubicBezTo>
                      <a:pt x="756" y="121"/>
                      <a:pt x="744" y="126"/>
                      <a:pt x="731" y="129"/>
                    </a:cubicBezTo>
                    <a:cubicBezTo>
                      <a:pt x="718" y="132"/>
                      <a:pt x="704" y="130"/>
                      <a:pt x="691" y="131"/>
                    </a:cubicBezTo>
                    <a:cubicBezTo>
                      <a:pt x="673" y="132"/>
                      <a:pt x="654" y="142"/>
                      <a:pt x="636" y="140"/>
                    </a:cubicBezTo>
                    <a:cubicBezTo>
                      <a:pt x="627" y="139"/>
                      <a:pt x="620" y="131"/>
                      <a:pt x="611" y="129"/>
                    </a:cubicBezTo>
                    <a:cubicBezTo>
                      <a:pt x="604" y="128"/>
                      <a:pt x="597" y="129"/>
                      <a:pt x="591" y="128"/>
                    </a:cubicBezTo>
                    <a:cubicBezTo>
                      <a:pt x="584" y="126"/>
                      <a:pt x="578" y="123"/>
                      <a:pt x="572" y="122"/>
                    </a:cubicBezTo>
                    <a:cubicBezTo>
                      <a:pt x="555" y="119"/>
                      <a:pt x="535" y="122"/>
                      <a:pt x="518" y="120"/>
                    </a:cubicBezTo>
                    <a:cubicBezTo>
                      <a:pt x="511" y="119"/>
                      <a:pt x="505" y="114"/>
                      <a:pt x="497" y="113"/>
                    </a:cubicBezTo>
                    <a:cubicBezTo>
                      <a:pt x="489" y="112"/>
                      <a:pt x="480" y="114"/>
                      <a:pt x="471" y="113"/>
                    </a:cubicBezTo>
                    <a:cubicBezTo>
                      <a:pt x="466" y="112"/>
                      <a:pt x="461" y="109"/>
                      <a:pt x="456" y="108"/>
                    </a:cubicBezTo>
                    <a:cubicBezTo>
                      <a:pt x="449" y="106"/>
                      <a:pt x="441" y="108"/>
                      <a:pt x="435" y="106"/>
                    </a:cubicBezTo>
                    <a:cubicBezTo>
                      <a:pt x="428" y="105"/>
                      <a:pt x="422" y="100"/>
                      <a:pt x="415" y="100"/>
                    </a:cubicBezTo>
                    <a:cubicBezTo>
                      <a:pt x="404" y="99"/>
                      <a:pt x="394" y="105"/>
                      <a:pt x="384" y="106"/>
                    </a:cubicBezTo>
                    <a:cubicBezTo>
                      <a:pt x="374" y="109"/>
                      <a:pt x="363" y="108"/>
                      <a:pt x="352" y="109"/>
                    </a:cubicBezTo>
                    <a:cubicBezTo>
                      <a:pt x="338" y="110"/>
                      <a:pt x="324" y="116"/>
                      <a:pt x="309" y="118"/>
                    </a:cubicBezTo>
                    <a:cubicBezTo>
                      <a:pt x="293" y="120"/>
                      <a:pt x="279" y="123"/>
                      <a:pt x="266" y="129"/>
                    </a:cubicBezTo>
                    <a:cubicBezTo>
                      <a:pt x="251" y="135"/>
                      <a:pt x="239" y="138"/>
                      <a:pt x="224" y="140"/>
                    </a:cubicBezTo>
                    <a:cubicBezTo>
                      <a:pt x="211" y="142"/>
                      <a:pt x="193" y="140"/>
                      <a:pt x="184" y="153"/>
                    </a:cubicBezTo>
                    <a:cubicBezTo>
                      <a:pt x="186" y="163"/>
                      <a:pt x="194" y="172"/>
                      <a:pt x="190" y="183"/>
                    </a:cubicBezTo>
                    <a:cubicBezTo>
                      <a:pt x="183" y="199"/>
                      <a:pt x="166" y="185"/>
                      <a:pt x="154" y="185"/>
                    </a:cubicBezTo>
                    <a:cubicBezTo>
                      <a:pt x="142" y="184"/>
                      <a:pt x="123" y="189"/>
                      <a:pt x="110" y="191"/>
                    </a:cubicBezTo>
                    <a:cubicBezTo>
                      <a:pt x="96" y="194"/>
                      <a:pt x="77" y="198"/>
                      <a:pt x="78" y="210"/>
                    </a:cubicBezTo>
                    <a:cubicBezTo>
                      <a:pt x="79" y="230"/>
                      <a:pt x="127" y="214"/>
                      <a:pt x="139" y="224"/>
                    </a:cubicBezTo>
                    <a:cubicBezTo>
                      <a:pt x="141" y="239"/>
                      <a:pt x="119" y="236"/>
                      <a:pt x="103" y="238"/>
                    </a:cubicBezTo>
                    <a:cubicBezTo>
                      <a:pt x="96" y="239"/>
                      <a:pt x="89" y="244"/>
                      <a:pt x="83" y="245"/>
                    </a:cubicBezTo>
                    <a:cubicBezTo>
                      <a:pt x="78" y="245"/>
                      <a:pt x="72" y="242"/>
                      <a:pt x="68" y="243"/>
                    </a:cubicBezTo>
                    <a:cubicBezTo>
                      <a:pt x="57" y="243"/>
                      <a:pt x="48" y="250"/>
                      <a:pt x="33" y="255"/>
                    </a:cubicBezTo>
                    <a:cubicBezTo>
                      <a:pt x="24" y="258"/>
                      <a:pt x="1" y="264"/>
                      <a:pt x="1" y="270"/>
                    </a:cubicBezTo>
                    <a:cubicBezTo>
                      <a:pt x="0" y="280"/>
                      <a:pt x="24" y="288"/>
                      <a:pt x="38" y="294"/>
                    </a:cubicBezTo>
                    <a:cubicBezTo>
                      <a:pt x="55" y="302"/>
                      <a:pt x="65" y="307"/>
                      <a:pt x="81" y="311"/>
                    </a:cubicBezTo>
                    <a:cubicBezTo>
                      <a:pt x="99" y="314"/>
                      <a:pt x="130" y="313"/>
                      <a:pt x="147" y="312"/>
                    </a:cubicBezTo>
                    <a:cubicBezTo>
                      <a:pt x="154" y="311"/>
                      <a:pt x="162" y="308"/>
                      <a:pt x="166" y="308"/>
                    </a:cubicBezTo>
                    <a:cubicBezTo>
                      <a:pt x="177" y="309"/>
                      <a:pt x="177" y="318"/>
                      <a:pt x="186" y="318"/>
                    </a:cubicBezTo>
                    <a:cubicBezTo>
                      <a:pt x="197" y="319"/>
                      <a:pt x="202" y="312"/>
                      <a:pt x="213" y="309"/>
                    </a:cubicBezTo>
                    <a:cubicBezTo>
                      <a:pt x="223" y="307"/>
                      <a:pt x="238" y="309"/>
                      <a:pt x="248" y="304"/>
                    </a:cubicBezTo>
                    <a:cubicBezTo>
                      <a:pt x="259" y="299"/>
                      <a:pt x="264" y="290"/>
                      <a:pt x="272" y="289"/>
                    </a:cubicBezTo>
                    <a:cubicBezTo>
                      <a:pt x="285" y="288"/>
                      <a:pt x="291" y="301"/>
                      <a:pt x="305" y="304"/>
                    </a:cubicBezTo>
                    <a:cubicBezTo>
                      <a:pt x="328" y="308"/>
                      <a:pt x="346" y="302"/>
                      <a:pt x="362" y="311"/>
                    </a:cubicBezTo>
                    <a:cubicBezTo>
                      <a:pt x="375" y="317"/>
                      <a:pt x="382" y="336"/>
                      <a:pt x="388" y="344"/>
                    </a:cubicBezTo>
                    <a:cubicBezTo>
                      <a:pt x="390" y="347"/>
                      <a:pt x="381" y="356"/>
                      <a:pt x="380" y="361"/>
                    </a:cubicBezTo>
                    <a:cubicBezTo>
                      <a:pt x="379" y="364"/>
                      <a:pt x="382" y="369"/>
                      <a:pt x="382" y="374"/>
                    </a:cubicBezTo>
                    <a:cubicBezTo>
                      <a:pt x="381" y="386"/>
                      <a:pt x="372" y="393"/>
                      <a:pt x="380" y="400"/>
                    </a:cubicBezTo>
                    <a:cubicBezTo>
                      <a:pt x="388" y="407"/>
                      <a:pt x="402" y="390"/>
                      <a:pt x="409" y="401"/>
                    </a:cubicBezTo>
                    <a:cubicBezTo>
                      <a:pt x="416" y="412"/>
                      <a:pt x="402" y="416"/>
                      <a:pt x="400" y="425"/>
                    </a:cubicBezTo>
                    <a:cubicBezTo>
                      <a:pt x="398" y="437"/>
                      <a:pt x="404" y="448"/>
                      <a:pt x="403" y="459"/>
                    </a:cubicBezTo>
                    <a:cubicBezTo>
                      <a:pt x="403" y="464"/>
                      <a:pt x="402" y="475"/>
                      <a:pt x="400" y="479"/>
                    </a:cubicBezTo>
                    <a:cubicBezTo>
                      <a:pt x="397" y="487"/>
                      <a:pt x="385" y="487"/>
                      <a:pt x="384" y="495"/>
                    </a:cubicBezTo>
                    <a:cubicBezTo>
                      <a:pt x="383" y="507"/>
                      <a:pt x="403" y="516"/>
                      <a:pt x="404" y="527"/>
                    </a:cubicBezTo>
                    <a:cubicBezTo>
                      <a:pt x="406" y="535"/>
                      <a:pt x="398" y="548"/>
                      <a:pt x="396" y="555"/>
                    </a:cubicBezTo>
                    <a:cubicBezTo>
                      <a:pt x="388" y="572"/>
                      <a:pt x="376" y="587"/>
                      <a:pt x="363" y="603"/>
                    </a:cubicBezTo>
                    <a:cubicBezTo>
                      <a:pt x="351" y="617"/>
                      <a:pt x="333" y="631"/>
                      <a:pt x="325" y="645"/>
                    </a:cubicBezTo>
                    <a:cubicBezTo>
                      <a:pt x="321" y="653"/>
                      <a:pt x="320" y="662"/>
                      <a:pt x="316" y="670"/>
                    </a:cubicBezTo>
                    <a:cubicBezTo>
                      <a:pt x="311" y="680"/>
                      <a:pt x="301" y="686"/>
                      <a:pt x="295" y="696"/>
                    </a:cubicBezTo>
                    <a:cubicBezTo>
                      <a:pt x="293" y="712"/>
                      <a:pt x="294" y="726"/>
                      <a:pt x="295" y="740"/>
                    </a:cubicBezTo>
                    <a:cubicBezTo>
                      <a:pt x="296" y="754"/>
                      <a:pt x="295" y="769"/>
                      <a:pt x="296" y="782"/>
                    </a:cubicBezTo>
                    <a:cubicBezTo>
                      <a:pt x="297" y="790"/>
                      <a:pt x="300" y="804"/>
                      <a:pt x="304" y="811"/>
                    </a:cubicBezTo>
                    <a:cubicBezTo>
                      <a:pt x="309" y="819"/>
                      <a:pt x="317" y="817"/>
                      <a:pt x="326" y="822"/>
                    </a:cubicBezTo>
                    <a:cubicBezTo>
                      <a:pt x="334" y="826"/>
                      <a:pt x="345" y="837"/>
                      <a:pt x="348" y="845"/>
                    </a:cubicBezTo>
                    <a:cubicBezTo>
                      <a:pt x="350" y="853"/>
                      <a:pt x="349" y="866"/>
                      <a:pt x="350" y="877"/>
                    </a:cubicBezTo>
                    <a:cubicBezTo>
                      <a:pt x="351" y="889"/>
                      <a:pt x="351" y="902"/>
                      <a:pt x="354" y="910"/>
                    </a:cubicBezTo>
                    <a:cubicBezTo>
                      <a:pt x="357" y="920"/>
                      <a:pt x="372" y="929"/>
                      <a:pt x="372" y="939"/>
                    </a:cubicBezTo>
                    <a:cubicBezTo>
                      <a:pt x="372" y="949"/>
                      <a:pt x="359" y="951"/>
                      <a:pt x="359" y="961"/>
                    </a:cubicBezTo>
                    <a:cubicBezTo>
                      <a:pt x="359" y="977"/>
                      <a:pt x="391" y="977"/>
                      <a:pt x="394" y="993"/>
                    </a:cubicBezTo>
                    <a:cubicBezTo>
                      <a:pt x="396" y="1001"/>
                      <a:pt x="391" y="1010"/>
                      <a:pt x="392" y="1016"/>
                    </a:cubicBezTo>
                    <a:cubicBezTo>
                      <a:pt x="394" y="1024"/>
                      <a:pt x="408" y="1031"/>
                      <a:pt x="411" y="1034"/>
                    </a:cubicBezTo>
                    <a:cubicBezTo>
                      <a:pt x="418" y="1040"/>
                      <a:pt x="422" y="1051"/>
                      <a:pt x="432" y="1049"/>
                    </a:cubicBezTo>
                    <a:cubicBezTo>
                      <a:pt x="440" y="1039"/>
                      <a:pt x="426" y="1030"/>
                      <a:pt x="422" y="1022"/>
                    </a:cubicBezTo>
                    <a:cubicBezTo>
                      <a:pt x="418" y="1012"/>
                      <a:pt x="418" y="996"/>
                      <a:pt x="413" y="981"/>
                    </a:cubicBezTo>
                    <a:cubicBezTo>
                      <a:pt x="410" y="971"/>
                      <a:pt x="402" y="964"/>
                      <a:pt x="399" y="955"/>
                    </a:cubicBezTo>
                    <a:cubicBezTo>
                      <a:pt x="396" y="946"/>
                      <a:pt x="397" y="937"/>
                      <a:pt x="393" y="929"/>
                    </a:cubicBezTo>
                    <a:cubicBezTo>
                      <a:pt x="390" y="922"/>
                      <a:pt x="380" y="912"/>
                      <a:pt x="379" y="905"/>
                    </a:cubicBezTo>
                    <a:cubicBezTo>
                      <a:pt x="375" y="878"/>
                      <a:pt x="403" y="869"/>
                      <a:pt x="411" y="889"/>
                    </a:cubicBezTo>
                    <a:cubicBezTo>
                      <a:pt x="416" y="901"/>
                      <a:pt x="409" y="912"/>
                      <a:pt x="411" y="925"/>
                    </a:cubicBezTo>
                    <a:cubicBezTo>
                      <a:pt x="413" y="935"/>
                      <a:pt x="426" y="945"/>
                      <a:pt x="432" y="954"/>
                    </a:cubicBezTo>
                    <a:cubicBezTo>
                      <a:pt x="440" y="964"/>
                      <a:pt x="446" y="974"/>
                      <a:pt x="452" y="981"/>
                    </a:cubicBezTo>
                    <a:cubicBezTo>
                      <a:pt x="453" y="988"/>
                      <a:pt x="453" y="989"/>
                      <a:pt x="452" y="996"/>
                    </a:cubicBezTo>
                    <a:cubicBezTo>
                      <a:pt x="462" y="1007"/>
                      <a:pt x="472" y="1017"/>
                      <a:pt x="481" y="1029"/>
                    </a:cubicBezTo>
                    <a:cubicBezTo>
                      <a:pt x="494" y="1044"/>
                      <a:pt x="513" y="1063"/>
                      <a:pt x="510" y="1090"/>
                    </a:cubicBezTo>
                    <a:cubicBezTo>
                      <a:pt x="510" y="1098"/>
                      <a:pt x="501" y="1106"/>
                      <a:pt x="501" y="1115"/>
                    </a:cubicBezTo>
                    <a:cubicBezTo>
                      <a:pt x="502" y="1122"/>
                      <a:pt x="511" y="1131"/>
                      <a:pt x="519" y="1137"/>
                    </a:cubicBezTo>
                    <a:cubicBezTo>
                      <a:pt x="528" y="1143"/>
                      <a:pt x="536" y="1150"/>
                      <a:pt x="543" y="1154"/>
                    </a:cubicBezTo>
                    <a:cubicBezTo>
                      <a:pt x="548" y="1156"/>
                      <a:pt x="557" y="1156"/>
                      <a:pt x="563" y="1159"/>
                    </a:cubicBezTo>
                    <a:cubicBezTo>
                      <a:pt x="571" y="1163"/>
                      <a:pt x="577" y="1171"/>
                      <a:pt x="586" y="1176"/>
                    </a:cubicBezTo>
                    <a:cubicBezTo>
                      <a:pt x="598" y="1182"/>
                      <a:pt x="613" y="1185"/>
                      <a:pt x="626" y="1191"/>
                    </a:cubicBezTo>
                    <a:cubicBezTo>
                      <a:pt x="640" y="1198"/>
                      <a:pt x="657" y="1206"/>
                      <a:pt x="668" y="1206"/>
                    </a:cubicBezTo>
                    <a:cubicBezTo>
                      <a:pt x="678" y="1206"/>
                      <a:pt x="689" y="1195"/>
                      <a:pt x="701" y="1195"/>
                    </a:cubicBezTo>
                    <a:cubicBezTo>
                      <a:pt x="728" y="1194"/>
                      <a:pt x="740" y="1230"/>
                      <a:pt x="762" y="1241"/>
                    </a:cubicBezTo>
                    <a:cubicBezTo>
                      <a:pt x="768" y="1243"/>
                      <a:pt x="775" y="1243"/>
                      <a:pt x="782" y="1245"/>
                    </a:cubicBezTo>
                    <a:cubicBezTo>
                      <a:pt x="788" y="1246"/>
                      <a:pt x="793" y="1249"/>
                      <a:pt x="798" y="1251"/>
                    </a:cubicBezTo>
                    <a:cubicBezTo>
                      <a:pt x="810" y="1255"/>
                      <a:pt x="824" y="1254"/>
                      <a:pt x="834" y="1258"/>
                    </a:cubicBezTo>
                    <a:cubicBezTo>
                      <a:pt x="848" y="1265"/>
                      <a:pt x="858" y="1291"/>
                      <a:pt x="871" y="1299"/>
                    </a:cubicBezTo>
                    <a:cubicBezTo>
                      <a:pt x="871" y="1306"/>
                      <a:pt x="869" y="1315"/>
                      <a:pt x="872" y="1321"/>
                    </a:cubicBezTo>
                    <a:cubicBezTo>
                      <a:pt x="877" y="1329"/>
                      <a:pt x="886" y="1327"/>
                      <a:pt x="895" y="1332"/>
                    </a:cubicBezTo>
                    <a:cubicBezTo>
                      <a:pt x="907" y="1338"/>
                      <a:pt x="910" y="1354"/>
                      <a:pt x="921" y="1359"/>
                    </a:cubicBezTo>
                    <a:cubicBezTo>
                      <a:pt x="924" y="1360"/>
                      <a:pt x="934" y="1360"/>
                      <a:pt x="940" y="1362"/>
                    </a:cubicBezTo>
                    <a:cubicBezTo>
                      <a:pt x="955" y="1367"/>
                      <a:pt x="959" y="1384"/>
                      <a:pt x="972" y="1380"/>
                    </a:cubicBezTo>
                    <a:cubicBezTo>
                      <a:pt x="980" y="1378"/>
                      <a:pt x="980" y="1369"/>
                      <a:pt x="981" y="1361"/>
                    </a:cubicBezTo>
                    <a:cubicBezTo>
                      <a:pt x="986" y="1355"/>
                      <a:pt x="993" y="1346"/>
                      <a:pt x="1001" y="1345"/>
                    </a:cubicBezTo>
                    <a:cubicBezTo>
                      <a:pt x="1015" y="1345"/>
                      <a:pt x="1016" y="1360"/>
                      <a:pt x="1021" y="1373"/>
                    </a:cubicBezTo>
                    <a:cubicBezTo>
                      <a:pt x="1024" y="1381"/>
                      <a:pt x="1031" y="1388"/>
                      <a:pt x="1033" y="1396"/>
                    </a:cubicBezTo>
                    <a:cubicBezTo>
                      <a:pt x="1037" y="1409"/>
                      <a:pt x="1035" y="1451"/>
                      <a:pt x="1032" y="1459"/>
                    </a:cubicBezTo>
                    <a:cubicBezTo>
                      <a:pt x="1029" y="1469"/>
                      <a:pt x="1015" y="1474"/>
                      <a:pt x="1007" y="1485"/>
                    </a:cubicBezTo>
                    <a:cubicBezTo>
                      <a:pt x="1003" y="1490"/>
                      <a:pt x="1001" y="1498"/>
                      <a:pt x="998" y="1502"/>
                    </a:cubicBezTo>
                    <a:cubicBezTo>
                      <a:pt x="992" y="1508"/>
                      <a:pt x="984" y="1510"/>
                      <a:pt x="980" y="1516"/>
                    </a:cubicBezTo>
                    <a:cubicBezTo>
                      <a:pt x="978" y="1519"/>
                      <a:pt x="975" y="1527"/>
                      <a:pt x="973" y="1532"/>
                    </a:cubicBezTo>
                    <a:cubicBezTo>
                      <a:pt x="966" y="1546"/>
                      <a:pt x="958" y="1556"/>
                      <a:pt x="963" y="1573"/>
                    </a:cubicBezTo>
                    <a:cubicBezTo>
                      <a:pt x="965" y="1580"/>
                      <a:pt x="977" y="1585"/>
                      <a:pt x="977" y="1593"/>
                    </a:cubicBezTo>
                    <a:cubicBezTo>
                      <a:pt x="977" y="1603"/>
                      <a:pt x="956" y="1611"/>
                      <a:pt x="954" y="1622"/>
                    </a:cubicBezTo>
                    <a:cubicBezTo>
                      <a:pt x="953" y="1630"/>
                      <a:pt x="961" y="1644"/>
                      <a:pt x="963" y="1654"/>
                    </a:cubicBezTo>
                    <a:cubicBezTo>
                      <a:pt x="965" y="1662"/>
                      <a:pt x="980" y="1667"/>
                      <a:pt x="984" y="1672"/>
                    </a:cubicBezTo>
                    <a:cubicBezTo>
                      <a:pt x="992" y="1681"/>
                      <a:pt x="998" y="1693"/>
                      <a:pt x="1006" y="1704"/>
                    </a:cubicBezTo>
                    <a:cubicBezTo>
                      <a:pt x="1020" y="1726"/>
                      <a:pt x="1031" y="1753"/>
                      <a:pt x="1045" y="1774"/>
                    </a:cubicBezTo>
                    <a:cubicBezTo>
                      <a:pt x="1052" y="1785"/>
                      <a:pt x="1062" y="1795"/>
                      <a:pt x="1067" y="1806"/>
                    </a:cubicBezTo>
                    <a:cubicBezTo>
                      <a:pt x="1069" y="1812"/>
                      <a:pt x="1069" y="1819"/>
                      <a:pt x="1071" y="1824"/>
                    </a:cubicBezTo>
                    <a:cubicBezTo>
                      <a:pt x="1079" y="1842"/>
                      <a:pt x="1115" y="1861"/>
                      <a:pt x="1133" y="1870"/>
                    </a:cubicBezTo>
                    <a:cubicBezTo>
                      <a:pt x="1141" y="1874"/>
                      <a:pt x="1151" y="1875"/>
                      <a:pt x="1158" y="1880"/>
                    </a:cubicBezTo>
                    <a:cubicBezTo>
                      <a:pt x="1170" y="1886"/>
                      <a:pt x="1194" y="1904"/>
                      <a:pt x="1200" y="1914"/>
                    </a:cubicBezTo>
                    <a:cubicBezTo>
                      <a:pt x="1205" y="1923"/>
                      <a:pt x="1208" y="1946"/>
                      <a:pt x="1211" y="1961"/>
                    </a:cubicBezTo>
                    <a:cubicBezTo>
                      <a:pt x="1214" y="1981"/>
                      <a:pt x="1211" y="1995"/>
                      <a:pt x="1212" y="2017"/>
                    </a:cubicBezTo>
                    <a:cubicBezTo>
                      <a:pt x="1212" y="2028"/>
                      <a:pt x="1216" y="2040"/>
                      <a:pt x="1216" y="2051"/>
                    </a:cubicBezTo>
                    <a:cubicBezTo>
                      <a:pt x="1216" y="2055"/>
                      <a:pt x="1214" y="2058"/>
                      <a:pt x="1214" y="2062"/>
                    </a:cubicBezTo>
                    <a:cubicBezTo>
                      <a:pt x="1214" y="2076"/>
                      <a:pt x="1217" y="2092"/>
                      <a:pt x="1216" y="2106"/>
                    </a:cubicBezTo>
                    <a:cubicBezTo>
                      <a:pt x="1216" y="2114"/>
                      <a:pt x="1214" y="2120"/>
                      <a:pt x="1214" y="2126"/>
                    </a:cubicBezTo>
                    <a:cubicBezTo>
                      <a:pt x="1215" y="2133"/>
                      <a:pt x="1218" y="2139"/>
                      <a:pt x="1219" y="2145"/>
                    </a:cubicBezTo>
                    <a:cubicBezTo>
                      <a:pt x="1219" y="2151"/>
                      <a:pt x="1217" y="2160"/>
                      <a:pt x="1217" y="2165"/>
                    </a:cubicBezTo>
                    <a:cubicBezTo>
                      <a:pt x="1219" y="2179"/>
                      <a:pt x="1229" y="2190"/>
                      <a:pt x="1232" y="2203"/>
                    </a:cubicBezTo>
                    <a:cubicBezTo>
                      <a:pt x="1234" y="2213"/>
                      <a:pt x="1235" y="2234"/>
                      <a:pt x="1234" y="2246"/>
                    </a:cubicBezTo>
                    <a:cubicBezTo>
                      <a:pt x="1233" y="2253"/>
                      <a:pt x="1230" y="2259"/>
                      <a:pt x="1229" y="2266"/>
                    </a:cubicBezTo>
                    <a:cubicBezTo>
                      <a:pt x="1228" y="2272"/>
                      <a:pt x="1229" y="2278"/>
                      <a:pt x="1229" y="2283"/>
                    </a:cubicBezTo>
                    <a:cubicBezTo>
                      <a:pt x="1227" y="2291"/>
                      <a:pt x="1223" y="2297"/>
                      <a:pt x="1223" y="2304"/>
                    </a:cubicBezTo>
                    <a:cubicBezTo>
                      <a:pt x="1224" y="2319"/>
                      <a:pt x="1241" y="2332"/>
                      <a:pt x="1243" y="2347"/>
                    </a:cubicBezTo>
                    <a:cubicBezTo>
                      <a:pt x="1244" y="2352"/>
                      <a:pt x="1242" y="2358"/>
                      <a:pt x="1242" y="2362"/>
                    </a:cubicBezTo>
                    <a:cubicBezTo>
                      <a:pt x="1242" y="2372"/>
                      <a:pt x="1247" y="2379"/>
                      <a:pt x="1249" y="2388"/>
                    </a:cubicBezTo>
                    <a:cubicBezTo>
                      <a:pt x="1252" y="2401"/>
                      <a:pt x="1249" y="2419"/>
                      <a:pt x="1262" y="2425"/>
                    </a:cubicBezTo>
                    <a:cubicBezTo>
                      <a:pt x="1276" y="2421"/>
                      <a:pt x="1259" y="2405"/>
                      <a:pt x="1268" y="2398"/>
                    </a:cubicBezTo>
                    <a:cubicBezTo>
                      <a:pt x="1284" y="2403"/>
                      <a:pt x="1278" y="2429"/>
                      <a:pt x="1283" y="2445"/>
                    </a:cubicBezTo>
                    <a:cubicBezTo>
                      <a:pt x="1277" y="2449"/>
                      <a:pt x="1269" y="2440"/>
                      <a:pt x="1265" y="2448"/>
                    </a:cubicBezTo>
                    <a:cubicBezTo>
                      <a:pt x="1262" y="2455"/>
                      <a:pt x="1271" y="2461"/>
                      <a:pt x="1271" y="2466"/>
                    </a:cubicBezTo>
                    <a:cubicBezTo>
                      <a:pt x="1271" y="2474"/>
                      <a:pt x="1265" y="2484"/>
                      <a:pt x="1266" y="2490"/>
                    </a:cubicBezTo>
                    <a:cubicBezTo>
                      <a:pt x="1269" y="2499"/>
                      <a:pt x="1286" y="2497"/>
                      <a:pt x="1289" y="2505"/>
                    </a:cubicBezTo>
                    <a:cubicBezTo>
                      <a:pt x="1292" y="2514"/>
                      <a:pt x="1283" y="2520"/>
                      <a:pt x="1283" y="2529"/>
                    </a:cubicBezTo>
                    <a:cubicBezTo>
                      <a:pt x="1283" y="2538"/>
                      <a:pt x="1295" y="2554"/>
                      <a:pt x="1304" y="2566"/>
                    </a:cubicBezTo>
                    <a:cubicBezTo>
                      <a:pt x="1309" y="2572"/>
                      <a:pt x="1315" y="2576"/>
                      <a:pt x="1319" y="2581"/>
                    </a:cubicBezTo>
                    <a:cubicBezTo>
                      <a:pt x="1322" y="2586"/>
                      <a:pt x="1324" y="2594"/>
                      <a:pt x="1328" y="2598"/>
                    </a:cubicBezTo>
                    <a:cubicBezTo>
                      <a:pt x="1332" y="2602"/>
                      <a:pt x="1341" y="2604"/>
                      <a:pt x="1347" y="2608"/>
                    </a:cubicBezTo>
                    <a:cubicBezTo>
                      <a:pt x="1356" y="2614"/>
                      <a:pt x="1367" y="2631"/>
                      <a:pt x="1377" y="2636"/>
                    </a:cubicBezTo>
                    <a:cubicBezTo>
                      <a:pt x="1381" y="2638"/>
                      <a:pt x="1387" y="2639"/>
                      <a:pt x="1392" y="2641"/>
                    </a:cubicBezTo>
                    <a:cubicBezTo>
                      <a:pt x="1400" y="2644"/>
                      <a:pt x="1407" y="2650"/>
                      <a:pt x="1414" y="2652"/>
                    </a:cubicBezTo>
                    <a:cubicBezTo>
                      <a:pt x="1432" y="2659"/>
                      <a:pt x="1450" y="2663"/>
                      <a:pt x="1465" y="2670"/>
                    </a:cubicBezTo>
                    <a:cubicBezTo>
                      <a:pt x="1470" y="2670"/>
                      <a:pt x="1475" y="2670"/>
                      <a:pt x="1481" y="2670"/>
                    </a:cubicBezTo>
                    <a:cubicBezTo>
                      <a:pt x="1484" y="2668"/>
                      <a:pt x="1494" y="2668"/>
                      <a:pt x="1497" y="2670"/>
                    </a:cubicBezTo>
                    <a:cubicBezTo>
                      <a:pt x="1498" y="2670"/>
                      <a:pt x="1499" y="2670"/>
                      <a:pt x="1500" y="2670"/>
                    </a:cubicBezTo>
                    <a:cubicBezTo>
                      <a:pt x="1508" y="2668"/>
                      <a:pt x="1517" y="2665"/>
                      <a:pt x="1520" y="2656"/>
                    </a:cubicBezTo>
                    <a:cubicBezTo>
                      <a:pt x="1513" y="2640"/>
                      <a:pt x="1490" y="2642"/>
                      <a:pt x="1474" y="2633"/>
                    </a:cubicBezTo>
                    <a:cubicBezTo>
                      <a:pt x="1463" y="2628"/>
                      <a:pt x="1454" y="2615"/>
                      <a:pt x="1446" y="2607"/>
                    </a:cubicBezTo>
                    <a:cubicBezTo>
                      <a:pt x="1438" y="2598"/>
                      <a:pt x="1423" y="2586"/>
                      <a:pt x="1423" y="2575"/>
                    </a:cubicBezTo>
                    <a:cubicBezTo>
                      <a:pt x="1423" y="2567"/>
                      <a:pt x="1432" y="2564"/>
                      <a:pt x="1434" y="2556"/>
                    </a:cubicBezTo>
                    <a:cubicBezTo>
                      <a:pt x="1435" y="2551"/>
                      <a:pt x="1431" y="2549"/>
                      <a:pt x="1434" y="2542"/>
                    </a:cubicBezTo>
                    <a:cubicBezTo>
                      <a:pt x="1438" y="2529"/>
                      <a:pt x="1451" y="2529"/>
                      <a:pt x="1450" y="2515"/>
                    </a:cubicBezTo>
                    <a:cubicBezTo>
                      <a:pt x="1450" y="2493"/>
                      <a:pt x="1407" y="2502"/>
                      <a:pt x="1406" y="2479"/>
                    </a:cubicBezTo>
                    <a:cubicBezTo>
                      <a:pt x="1405" y="2464"/>
                      <a:pt x="1427" y="2465"/>
                      <a:pt x="1430" y="2450"/>
                    </a:cubicBezTo>
                    <a:cubicBezTo>
                      <a:pt x="1432" y="2444"/>
                      <a:pt x="1428" y="2441"/>
                      <a:pt x="1428" y="2430"/>
                    </a:cubicBezTo>
                    <a:cubicBezTo>
                      <a:pt x="1431" y="2420"/>
                      <a:pt x="1443" y="2418"/>
                      <a:pt x="1445" y="2407"/>
                    </a:cubicBezTo>
                    <a:cubicBezTo>
                      <a:pt x="1440" y="2399"/>
                      <a:pt x="1430" y="2404"/>
                      <a:pt x="1423" y="2400"/>
                    </a:cubicBezTo>
                    <a:cubicBezTo>
                      <a:pt x="1416" y="2396"/>
                      <a:pt x="1413" y="2388"/>
                      <a:pt x="1414" y="2379"/>
                    </a:cubicBezTo>
                    <a:cubicBezTo>
                      <a:pt x="1425" y="2374"/>
                      <a:pt x="1448" y="2391"/>
                      <a:pt x="1456" y="2375"/>
                    </a:cubicBezTo>
                    <a:cubicBezTo>
                      <a:pt x="1460" y="2367"/>
                      <a:pt x="1451" y="2348"/>
                      <a:pt x="1457" y="2340"/>
                    </a:cubicBezTo>
                    <a:cubicBezTo>
                      <a:pt x="1461" y="2335"/>
                      <a:pt x="1482" y="2335"/>
                      <a:pt x="1491" y="2333"/>
                    </a:cubicBezTo>
                    <a:cubicBezTo>
                      <a:pt x="1502" y="2331"/>
                      <a:pt x="1516" y="2329"/>
                      <a:pt x="1523" y="2324"/>
                    </a:cubicBezTo>
                    <a:cubicBezTo>
                      <a:pt x="1530" y="2320"/>
                      <a:pt x="1541" y="2306"/>
                      <a:pt x="1540" y="2292"/>
                    </a:cubicBezTo>
                    <a:cubicBezTo>
                      <a:pt x="1539" y="2286"/>
                      <a:pt x="1535" y="2283"/>
                      <a:pt x="1530" y="2278"/>
                    </a:cubicBezTo>
                    <a:cubicBezTo>
                      <a:pt x="1525" y="2273"/>
                      <a:pt x="1524" y="2267"/>
                      <a:pt x="1521" y="2262"/>
                    </a:cubicBezTo>
                    <a:cubicBezTo>
                      <a:pt x="1516" y="2254"/>
                      <a:pt x="1507" y="2255"/>
                      <a:pt x="1505" y="2244"/>
                    </a:cubicBezTo>
                    <a:cubicBezTo>
                      <a:pt x="1521" y="2241"/>
                      <a:pt x="1546" y="2257"/>
                      <a:pt x="1569" y="2251"/>
                    </a:cubicBezTo>
                    <a:cubicBezTo>
                      <a:pt x="1580" y="2248"/>
                      <a:pt x="1595" y="2224"/>
                      <a:pt x="1600" y="2214"/>
                    </a:cubicBezTo>
                    <a:cubicBezTo>
                      <a:pt x="1602" y="2211"/>
                      <a:pt x="1601" y="2206"/>
                      <a:pt x="1603" y="2202"/>
                    </a:cubicBezTo>
                    <a:cubicBezTo>
                      <a:pt x="1605" y="2197"/>
                      <a:pt x="1609" y="2194"/>
                      <a:pt x="1610" y="2192"/>
                    </a:cubicBezTo>
                    <a:cubicBezTo>
                      <a:pt x="1612" y="2186"/>
                      <a:pt x="1611" y="2181"/>
                      <a:pt x="1612" y="2177"/>
                    </a:cubicBezTo>
                    <a:cubicBezTo>
                      <a:pt x="1616" y="2166"/>
                      <a:pt x="1627" y="2162"/>
                      <a:pt x="1633" y="2154"/>
                    </a:cubicBezTo>
                    <a:cubicBezTo>
                      <a:pt x="1638" y="2148"/>
                      <a:pt x="1641" y="2140"/>
                      <a:pt x="1646" y="2134"/>
                    </a:cubicBezTo>
                    <a:cubicBezTo>
                      <a:pt x="1651" y="2127"/>
                      <a:pt x="1656" y="2121"/>
                      <a:pt x="1659" y="2115"/>
                    </a:cubicBezTo>
                    <a:cubicBezTo>
                      <a:pt x="1662" y="2094"/>
                      <a:pt x="1651" y="2080"/>
                      <a:pt x="1656" y="2062"/>
                    </a:cubicBezTo>
                    <a:cubicBezTo>
                      <a:pt x="1661" y="2042"/>
                      <a:pt x="1689" y="2030"/>
                      <a:pt x="1708" y="2021"/>
                    </a:cubicBezTo>
                    <a:cubicBezTo>
                      <a:pt x="1715" y="2018"/>
                      <a:pt x="1722" y="2013"/>
                      <a:pt x="1727" y="2011"/>
                    </a:cubicBezTo>
                    <a:cubicBezTo>
                      <a:pt x="1740" y="2006"/>
                      <a:pt x="1757" y="2009"/>
                      <a:pt x="1769" y="2004"/>
                    </a:cubicBezTo>
                    <a:cubicBezTo>
                      <a:pt x="1790" y="1997"/>
                      <a:pt x="1793" y="1974"/>
                      <a:pt x="1803" y="1955"/>
                    </a:cubicBezTo>
                    <a:cubicBezTo>
                      <a:pt x="1808" y="1946"/>
                      <a:pt x="1814" y="1937"/>
                      <a:pt x="1815" y="1931"/>
                    </a:cubicBezTo>
                    <a:cubicBezTo>
                      <a:pt x="1816" y="1925"/>
                      <a:pt x="1813" y="1920"/>
                      <a:pt x="1814" y="1913"/>
                    </a:cubicBezTo>
                    <a:cubicBezTo>
                      <a:pt x="1815" y="1906"/>
                      <a:pt x="1821" y="1900"/>
                      <a:pt x="1823" y="1893"/>
                    </a:cubicBezTo>
                    <a:cubicBezTo>
                      <a:pt x="1825" y="1883"/>
                      <a:pt x="1826" y="1869"/>
                      <a:pt x="1826" y="1858"/>
                    </a:cubicBezTo>
                    <a:cubicBezTo>
                      <a:pt x="1826" y="1850"/>
                      <a:pt x="1822" y="1842"/>
                      <a:pt x="1822" y="1834"/>
                    </a:cubicBezTo>
                    <a:cubicBezTo>
                      <a:pt x="1820" y="1805"/>
                      <a:pt x="1832" y="1802"/>
                      <a:pt x="1843" y="1786"/>
                    </a:cubicBezTo>
                    <a:cubicBezTo>
                      <a:pt x="1848" y="1778"/>
                      <a:pt x="1850" y="1769"/>
                      <a:pt x="1854" y="1764"/>
                    </a:cubicBezTo>
                    <a:cubicBezTo>
                      <a:pt x="1872" y="1737"/>
                      <a:pt x="1903" y="1724"/>
                      <a:pt x="1901" y="1683"/>
                    </a:cubicBezTo>
                    <a:cubicBezTo>
                      <a:pt x="1900" y="1670"/>
                      <a:pt x="1892" y="1640"/>
                      <a:pt x="1882" y="1635"/>
                    </a:cubicBezTo>
                    <a:close/>
                    <a:moveTo>
                      <a:pt x="1590" y="180"/>
                    </a:moveTo>
                    <a:cubicBezTo>
                      <a:pt x="1591" y="186"/>
                      <a:pt x="1588" y="187"/>
                      <a:pt x="1582" y="187"/>
                    </a:cubicBezTo>
                    <a:cubicBezTo>
                      <a:pt x="1578" y="181"/>
                      <a:pt x="1585" y="177"/>
                      <a:pt x="1590" y="180"/>
                    </a:cubicBezTo>
                    <a:close/>
                    <a:moveTo>
                      <a:pt x="1447" y="82"/>
                    </a:moveTo>
                    <a:cubicBezTo>
                      <a:pt x="1447" y="80"/>
                      <a:pt x="1447" y="79"/>
                      <a:pt x="1447" y="77"/>
                    </a:cubicBezTo>
                    <a:cubicBezTo>
                      <a:pt x="1449" y="76"/>
                      <a:pt x="1452" y="76"/>
                      <a:pt x="1454" y="77"/>
                    </a:cubicBezTo>
                    <a:cubicBezTo>
                      <a:pt x="1453" y="80"/>
                      <a:pt x="1452" y="83"/>
                      <a:pt x="1447" y="82"/>
                    </a:cubicBezTo>
                    <a:close/>
                    <a:moveTo>
                      <a:pt x="1173" y="631"/>
                    </a:moveTo>
                    <a:cubicBezTo>
                      <a:pt x="1174" y="625"/>
                      <a:pt x="1182" y="624"/>
                      <a:pt x="1190" y="623"/>
                    </a:cubicBezTo>
                    <a:cubicBezTo>
                      <a:pt x="1200" y="622"/>
                      <a:pt x="1215" y="620"/>
                      <a:pt x="1220" y="625"/>
                    </a:cubicBezTo>
                    <a:cubicBezTo>
                      <a:pt x="1216" y="640"/>
                      <a:pt x="1184" y="636"/>
                      <a:pt x="1173" y="631"/>
                    </a:cubicBezTo>
                    <a:close/>
                    <a:moveTo>
                      <a:pt x="1146" y="604"/>
                    </a:moveTo>
                    <a:cubicBezTo>
                      <a:pt x="1131" y="606"/>
                      <a:pt x="1125" y="636"/>
                      <a:pt x="1114" y="635"/>
                    </a:cubicBezTo>
                    <a:cubicBezTo>
                      <a:pt x="1103" y="634"/>
                      <a:pt x="1097" y="608"/>
                      <a:pt x="1108" y="600"/>
                    </a:cubicBezTo>
                    <a:cubicBezTo>
                      <a:pt x="1109" y="594"/>
                      <a:pt x="1103" y="593"/>
                      <a:pt x="1104" y="586"/>
                    </a:cubicBezTo>
                    <a:cubicBezTo>
                      <a:pt x="1107" y="582"/>
                      <a:pt x="1116" y="577"/>
                      <a:pt x="1125" y="578"/>
                    </a:cubicBezTo>
                    <a:cubicBezTo>
                      <a:pt x="1130" y="579"/>
                      <a:pt x="1136" y="584"/>
                      <a:pt x="1143" y="585"/>
                    </a:cubicBezTo>
                    <a:cubicBezTo>
                      <a:pt x="1149" y="585"/>
                      <a:pt x="1154" y="582"/>
                      <a:pt x="1157" y="583"/>
                    </a:cubicBezTo>
                    <a:cubicBezTo>
                      <a:pt x="1167" y="585"/>
                      <a:pt x="1170" y="599"/>
                      <a:pt x="1162" y="606"/>
                    </a:cubicBezTo>
                    <a:cubicBezTo>
                      <a:pt x="1154" y="607"/>
                      <a:pt x="1152" y="603"/>
                      <a:pt x="1146" y="604"/>
                    </a:cubicBezTo>
                    <a:close/>
                    <a:moveTo>
                      <a:pt x="1155" y="1321"/>
                    </a:moveTo>
                    <a:cubicBezTo>
                      <a:pt x="1166" y="1316"/>
                      <a:pt x="1168" y="1336"/>
                      <a:pt x="1159" y="1338"/>
                    </a:cubicBezTo>
                    <a:cubicBezTo>
                      <a:pt x="1151" y="1339"/>
                      <a:pt x="1147" y="1325"/>
                      <a:pt x="1155" y="1321"/>
                    </a:cubicBezTo>
                    <a:close/>
                    <a:moveTo>
                      <a:pt x="1107" y="670"/>
                    </a:moveTo>
                    <a:cubicBezTo>
                      <a:pt x="1099" y="672"/>
                      <a:pt x="1084" y="676"/>
                      <a:pt x="1082" y="666"/>
                    </a:cubicBezTo>
                    <a:cubicBezTo>
                      <a:pt x="1081" y="655"/>
                      <a:pt x="1095" y="657"/>
                      <a:pt x="1103" y="656"/>
                    </a:cubicBezTo>
                    <a:cubicBezTo>
                      <a:pt x="1116" y="654"/>
                      <a:pt x="1130" y="645"/>
                      <a:pt x="1146" y="651"/>
                    </a:cubicBezTo>
                    <a:cubicBezTo>
                      <a:pt x="1136" y="659"/>
                      <a:pt x="1125" y="664"/>
                      <a:pt x="1107" y="670"/>
                    </a:cubicBezTo>
                    <a:close/>
                    <a:moveTo>
                      <a:pt x="1059" y="569"/>
                    </a:moveTo>
                    <a:cubicBezTo>
                      <a:pt x="1051" y="568"/>
                      <a:pt x="1047" y="557"/>
                      <a:pt x="1039" y="556"/>
                    </a:cubicBezTo>
                    <a:cubicBezTo>
                      <a:pt x="1024" y="553"/>
                      <a:pt x="1003" y="574"/>
                      <a:pt x="992" y="557"/>
                    </a:cubicBezTo>
                    <a:cubicBezTo>
                      <a:pt x="995" y="547"/>
                      <a:pt x="1006" y="547"/>
                      <a:pt x="1018" y="544"/>
                    </a:cubicBezTo>
                    <a:cubicBezTo>
                      <a:pt x="1039" y="538"/>
                      <a:pt x="1064" y="520"/>
                      <a:pt x="1082" y="525"/>
                    </a:cubicBezTo>
                    <a:cubicBezTo>
                      <a:pt x="1093" y="527"/>
                      <a:pt x="1119" y="556"/>
                      <a:pt x="1097" y="566"/>
                    </a:cubicBezTo>
                    <a:cubicBezTo>
                      <a:pt x="1095" y="567"/>
                      <a:pt x="1064" y="570"/>
                      <a:pt x="1059" y="569"/>
                    </a:cubicBezTo>
                    <a:close/>
                    <a:moveTo>
                      <a:pt x="1061" y="600"/>
                    </a:moveTo>
                    <a:cubicBezTo>
                      <a:pt x="1045" y="610"/>
                      <a:pt x="1036" y="625"/>
                      <a:pt x="1031" y="645"/>
                    </a:cubicBezTo>
                    <a:cubicBezTo>
                      <a:pt x="1030" y="651"/>
                      <a:pt x="1014" y="667"/>
                      <a:pt x="1007" y="665"/>
                    </a:cubicBezTo>
                    <a:cubicBezTo>
                      <a:pt x="989" y="661"/>
                      <a:pt x="1012" y="629"/>
                      <a:pt x="1016" y="624"/>
                    </a:cubicBezTo>
                    <a:cubicBezTo>
                      <a:pt x="1020" y="618"/>
                      <a:pt x="1026" y="614"/>
                      <a:pt x="1031" y="607"/>
                    </a:cubicBezTo>
                    <a:cubicBezTo>
                      <a:pt x="1036" y="601"/>
                      <a:pt x="1040" y="593"/>
                      <a:pt x="1045" y="589"/>
                    </a:cubicBezTo>
                    <a:cubicBezTo>
                      <a:pt x="1052" y="584"/>
                      <a:pt x="1077" y="578"/>
                      <a:pt x="1081" y="584"/>
                    </a:cubicBezTo>
                    <a:cubicBezTo>
                      <a:pt x="1080" y="596"/>
                      <a:pt x="1070" y="595"/>
                      <a:pt x="1061" y="600"/>
                    </a:cubicBezTo>
                    <a:close/>
                    <a:moveTo>
                      <a:pt x="956" y="156"/>
                    </a:moveTo>
                    <a:cubicBezTo>
                      <a:pt x="958" y="132"/>
                      <a:pt x="975" y="134"/>
                      <a:pt x="985" y="149"/>
                    </a:cubicBezTo>
                    <a:cubicBezTo>
                      <a:pt x="1004" y="151"/>
                      <a:pt x="1024" y="146"/>
                      <a:pt x="1037" y="152"/>
                    </a:cubicBezTo>
                    <a:cubicBezTo>
                      <a:pt x="1039" y="158"/>
                      <a:pt x="1034" y="161"/>
                      <a:pt x="1030" y="163"/>
                    </a:cubicBezTo>
                    <a:cubicBezTo>
                      <a:pt x="1009" y="148"/>
                      <a:pt x="977" y="172"/>
                      <a:pt x="956" y="156"/>
                    </a:cubicBezTo>
                    <a:close/>
                    <a:moveTo>
                      <a:pt x="942" y="427"/>
                    </a:moveTo>
                    <a:cubicBezTo>
                      <a:pt x="963" y="422"/>
                      <a:pt x="954" y="458"/>
                      <a:pt x="942" y="459"/>
                    </a:cubicBezTo>
                    <a:cubicBezTo>
                      <a:pt x="925" y="459"/>
                      <a:pt x="928" y="430"/>
                      <a:pt x="942" y="427"/>
                    </a:cubicBezTo>
                    <a:close/>
                    <a:moveTo>
                      <a:pt x="884" y="1291"/>
                    </a:moveTo>
                    <a:cubicBezTo>
                      <a:pt x="883" y="1292"/>
                      <a:pt x="882" y="1294"/>
                      <a:pt x="882" y="1295"/>
                    </a:cubicBezTo>
                    <a:cubicBezTo>
                      <a:pt x="870" y="1295"/>
                      <a:pt x="881" y="1280"/>
                      <a:pt x="884" y="1291"/>
                    </a:cubicBezTo>
                    <a:close/>
                    <a:moveTo>
                      <a:pt x="787" y="286"/>
                    </a:moveTo>
                    <a:cubicBezTo>
                      <a:pt x="788" y="278"/>
                      <a:pt x="801" y="276"/>
                      <a:pt x="810" y="272"/>
                    </a:cubicBezTo>
                    <a:cubicBezTo>
                      <a:pt x="818" y="267"/>
                      <a:pt x="822" y="260"/>
                      <a:pt x="830" y="260"/>
                    </a:cubicBezTo>
                    <a:cubicBezTo>
                      <a:pt x="837" y="261"/>
                      <a:pt x="842" y="266"/>
                      <a:pt x="847" y="270"/>
                    </a:cubicBezTo>
                    <a:cubicBezTo>
                      <a:pt x="846" y="277"/>
                      <a:pt x="837" y="276"/>
                      <a:pt x="830" y="278"/>
                    </a:cubicBezTo>
                    <a:cubicBezTo>
                      <a:pt x="820" y="282"/>
                      <a:pt x="804" y="289"/>
                      <a:pt x="787" y="286"/>
                    </a:cubicBezTo>
                    <a:close/>
                    <a:moveTo>
                      <a:pt x="774" y="208"/>
                    </a:moveTo>
                    <a:cubicBezTo>
                      <a:pt x="775" y="198"/>
                      <a:pt x="781" y="193"/>
                      <a:pt x="785" y="186"/>
                    </a:cubicBezTo>
                    <a:cubicBezTo>
                      <a:pt x="805" y="184"/>
                      <a:pt x="839" y="169"/>
                      <a:pt x="844" y="193"/>
                    </a:cubicBezTo>
                    <a:cubicBezTo>
                      <a:pt x="839" y="200"/>
                      <a:pt x="832" y="197"/>
                      <a:pt x="825" y="198"/>
                    </a:cubicBezTo>
                    <a:cubicBezTo>
                      <a:pt x="808" y="201"/>
                      <a:pt x="789" y="212"/>
                      <a:pt x="774" y="208"/>
                    </a:cubicBezTo>
                    <a:close/>
                    <a:moveTo>
                      <a:pt x="431" y="511"/>
                    </a:moveTo>
                    <a:cubicBezTo>
                      <a:pt x="439" y="507"/>
                      <a:pt x="447" y="518"/>
                      <a:pt x="441" y="524"/>
                    </a:cubicBezTo>
                    <a:cubicBezTo>
                      <a:pt x="433" y="525"/>
                      <a:pt x="430" y="515"/>
                      <a:pt x="431" y="511"/>
                    </a:cubicBezTo>
                    <a:close/>
                    <a:moveTo>
                      <a:pt x="402" y="361"/>
                    </a:moveTo>
                    <a:cubicBezTo>
                      <a:pt x="402" y="357"/>
                      <a:pt x="406" y="357"/>
                      <a:pt x="409" y="357"/>
                    </a:cubicBezTo>
                    <a:cubicBezTo>
                      <a:pt x="409" y="359"/>
                      <a:pt x="410" y="360"/>
                      <a:pt x="410" y="362"/>
                    </a:cubicBezTo>
                    <a:cubicBezTo>
                      <a:pt x="408" y="364"/>
                      <a:pt x="404" y="364"/>
                      <a:pt x="402" y="361"/>
                    </a:cubicBezTo>
                    <a:close/>
                    <a:moveTo>
                      <a:pt x="1502" y="167"/>
                    </a:moveTo>
                    <a:cubicBezTo>
                      <a:pt x="1505" y="180"/>
                      <a:pt x="1536" y="167"/>
                      <a:pt x="1534" y="157"/>
                    </a:cubicBezTo>
                    <a:cubicBezTo>
                      <a:pt x="1526" y="144"/>
                      <a:pt x="1499" y="156"/>
                      <a:pt x="1502" y="167"/>
                    </a:cubicBezTo>
                    <a:close/>
                    <a:moveTo>
                      <a:pt x="1481" y="2670"/>
                    </a:moveTo>
                    <a:cubicBezTo>
                      <a:pt x="1486" y="2670"/>
                      <a:pt x="1492" y="2670"/>
                      <a:pt x="1497" y="2670"/>
                    </a:cubicBezTo>
                    <a:cubicBezTo>
                      <a:pt x="1494" y="2668"/>
                      <a:pt x="1484" y="2668"/>
                      <a:pt x="1481" y="2670"/>
                    </a:cubicBezTo>
                    <a:close/>
                    <a:moveTo>
                      <a:pt x="1447" y="82"/>
                    </a:moveTo>
                    <a:cubicBezTo>
                      <a:pt x="1452" y="83"/>
                      <a:pt x="1453" y="80"/>
                      <a:pt x="1454" y="77"/>
                    </a:cubicBezTo>
                    <a:cubicBezTo>
                      <a:pt x="1452" y="76"/>
                      <a:pt x="1449" y="76"/>
                      <a:pt x="1447" y="77"/>
                    </a:cubicBezTo>
                    <a:cubicBezTo>
                      <a:pt x="1447" y="79"/>
                      <a:pt x="1447" y="80"/>
                      <a:pt x="1447" y="82"/>
                    </a:cubicBezTo>
                    <a:close/>
                    <a:moveTo>
                      <a:pt x="1328" y="250"/>
                    </a:moveTo>
                    <a:cubicBezTo>
                      <a:pt x="1323" y="253"/>
                      <a:pt x="1323" y="257"/>
                      <a:pt x="1323" y="259"/>
                    </a:cubicBezTo>
                    <a:cubicBezTo>
                      <a:pt x="1326" y="271"/>
                      <a:pt x="1348" y="261"/>
                      <a:pt x="1348" y="255"/>
                    </a:cubicBezTo>
                    <a:cubicBezTo>
                      <a:pt x="1348" y="249"/>
                      <a:pt x="1334" y="247"/>
                      <a:pt x="1328" y="250"/>
                    </a:cubicBezTo>
                    <a:close/>
                    <a:moveTo>
                      <a:pt x="882" y="1295"/>
                    </a:moveTo>
                    <a:cubicBezTo>
                      <a:pt x="882" y="1294"/>
                      <a:pt x="883" y="1292"/>
                      <a:pt x="884" y="1291"/>
                    </a:cubicBezTo>
                    <a:cubicBezTo>
                      <a:pt x="881" y="1280"/>
                      <a:pt x="870" y="1295"/>
                      <a:pt x="882" y="1295"/>
                    </a:cubicBezTo>
                    <a:close/>
                    <a:moveTo>
                      <a:pt x="441" y="524"/>
                    </a:moveTo>
                    <a:cubicBezTo>
                      <a:pt x="447" y="518"/>
                      <a:pt x="439" y="507"/>
                      <a:pt x="431" y="511"/>
                    </a:cubicBezTo>
                    <a:cubicBezTo>
                      <a:pt x="430" y="515"/>
                      <a:pt x="433" y="525"/>
                      <a:pt x="441" y="524"/>
                    </a:cubicBezTo>
                    <a:close/>
                    <a:moveTo>
                      <a:pt x="402" y="361"/>
                    </a:moveTo>
                    <a:cubicBezTo>
                      <a:pt x="404" y="364"/>
                      <a:pt x="408" y="364"/>
                      <a:pt x="410" y="362"/>
                    </a:cubicBezTo>
                    <a:cubicBezTo>
                      <a:pt x="410" y="360"/>
                      <a:pt x="409" y="359"/>
                      <a:pt x="409" y="357"/>
                    </a:cubicBezTo>
                    <a:cubicBezTo>
                      <a:pt x="406" y="357"/>
                      <a:pt x="402" y="357"/>
                      <a:pt x="402" y="361"/>
                    </a:cubicBezTo>
                    <a:close/>
                    <a:moveTo>
                      <a:pt x="354" y="431"/>
                    </a:moveTo>
                    <a:cubicBezTo>
                      <a:pt x="356" y="433"/>
                      <a:pt x="358" y="435"/>
                      <a:pt x="360" y="437"/>
                    </a:cubicBezTo>
                    <a:cubicBezTo>
                      <a:pt x="367" y="434"/>
                      <a:pt x="373" y="430"/>
                      <a:pt x="375" y="423"/>
                    </a:cubicBezTo>
                    <a:cubicBezTo>
                      <a:pt x="370" y="413"/>
                      <a:pt x="355" y="420"/>
                      <a:pt x="354" y="43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sz="1200"/>
              </a:p>
            </p:txBody>
          </p:sp>
          <p:grpSp>
            <p:nvGrpSpPr>
              <p:cNvPr id="85" name="Gruppieren 84"/>
              <p:cNvGrpSpPr/>
              <p:nvPr/>
            </p:nvGrpSpPr>
            <p:grpSpPr>
              <a:xfrm>
                <a:off x="9039877" y="4316915"/>
                <a:ext cx="136813" cy="185532"/>
                <a:chOff x="5772150" y="2989263"/>
                <a:chExt cx="650875" cy="882650"/>
              </a:xfrm>
              <a:effectLst>
                <a:outerShdw blurRad="50800" dist="38100" dir="8100000" algn="tr" rotWithShape="0">
                  <a:prstClr val="black">
                    <a:alpha val="40000"/>
                  </a:prstClr>
                </a:outerShdw>
              </a:effectLst>
            </p:grpSpPr>
            <p:sp>
              <p:nvSpPr>
                <p:cNvPr id="86" name="Ellipse 85"/>
                <p:cNvSpPr/>
                <p:nvPr/>
              </p:nvSpPr>
              <p:spPr>
                <a:xfrm>
                  <a:off x="5858218" y="3079048"/>
                  <a:ext cx="475564" cy="475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7" name="Freeform 53"/>
                <p:cNvSpPr>
                  <a:spLocks noEditPoints="1"/>
                </p:cNvSpPr>
                <p:nvPr/>
              </p:nvSpPr>
              <p:spPr bwMode="auto">
                <a:xfrm>
                  <a:off x="5772150" y="2989263"/>
                  <a:ext cx="650875" cy="882650"/>
                </a:xfrm>
                <a:custGeom>
                  <a:avLst/>
                  <a:gdLst>
                    <a:gd name="T0" fmla="*/ 115 w 230"/>
                    <a:gd name="T1" fmla="*/ 0 h 313"/>
                    <a:gd name="T2" fmla="*/ 0 w 230"/>
                    <a:gd name="T3" fmla="*/ 115 h 313"/>
                    <a:gd name="T4" fmla="*/ 10 w 230"/>
                    <a:gd name="T5" fmla="*/ 162 h 313"/>
                    <a:gd name="T6" fmla="*/ 110 w 230"/>
                    <a:gd name="T7" fmla="*/ 310 h 313"/>
                    <a:gd name="T8" fmla="*/ 115 w 230"/>
                    <a:gd name="T9" fmla="*/ 313 h 313"/>
                    <a:gd name="T10" fmla="*/ 120 w 230"/>
                    <a:gd name="T11" fmla="*/ 310 h 313"/>
                    <a:gd name="T12" fmla="*/ 220 w 230"/>
                    <a:gd name="T13" fmla="*/ 162 h 313"/>
                    <a:gd name="T14" fmla="*/ 230 w 230"/>
                    <a:gd name="T15" fmla="*/ 115 h 313"/>
                    <a:gd name="T16" fmla="*/ 115 w 230"/>
                    <a:gd name="T17" fmla="*/ 0 h 313"/>
                    <a:gd name="T18" fmla="*/ 115 w 230"/>
                    <a:gd name="T19" fmla="*/ 175 h 313"/>
                    <a:gd name="T20" fmla="*/ 55 w 230"/>
                    <a:gd name="T21" fmla="*/ 115 h 313"/>
                    <a:gd name="T22" fmla="*/ 115 w 230"/>
                    <a:gd name="T23" fmla="*/ 55 h 313"/>
                    <a:gd name="T24" fmla="*/ 175 w 230"/>
                    <a:gd name="T25" fmla="*/ 115 h 313"/>
                    <a:gd name="T26" fmla="*/ 115 w 230"/>
                    <a:gd name="T27" fmla="*/ 175 h 313"/>
                    <a:gd name="T28" fmla="*/ 115 w 230"/>
                    <a:gd name="T29" fmla="*/ 175 h 313"/>
                    <a:gd name="T30" fmla="*/ 115 w 230"/>
                    <a:gd name="T31" fmla="*/ 17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 h="313">
                      <a:moveTo>
                        <a:pt x="115" y="0"/>
                      </a:moveTo>
                      <a:cubicBezTo>
                        <a:pt x="52" y="0"/>
                        <a:pt x="0" y="52"/>
                        <a:pt x="0" y="115"/>
                      </a:cubicBezTo>
                      <a:cubicBezTo>
                        <a:pt x="0" y="132"/>
                        <a:pt x="3" y="147"/>
                        <a:pt x="10" y="162"/>
                      </a:cubicBezTo>
                      <a:cubicBezTo>
                        <a:pt x="39" y="225"/>
                        <a:pt x="94" y="292"/>
                        <a:pt x="110" y="310"/>
                      </a:cubicBezTo>
                      <a:cubicBezTo>
                        <a:pt x="111" y="312"/>
                        <a:pt x="113" y="313"/>
                        <a:pt x="115" y="313"/>
                      </a:cubicBezTo>
                      <a:cubicBezTo>
                        <a:pt x="117" y="313"/>
                        <a:pt x="119" y="312"/>
                        <a:pt x="120" y="310"/>
                      </a:cubicBezTo>
                      <a:cubicBezTo>
                        <a:pt x="136" y="292"/>
                        <a:pt x="191" y="225"/>
                        <a:pt x="220" y="162"/>
                      </a:cubicBezTo>
                      <a:cubicBezTo>
                        <a:pt x="227" y="147"/>
                        <a:pt x="230" y="132"/>
                        <a:pt x="230" y="115"/>
                      </a:cubicBezTo>
                      <a:cubicBezTo>
                        <a:pt x="230" y="52"/>
                        <a:pt x="179" y="0"/>
                        <a:pt x="115" y="0"/>
                      </a:cubicBezTo>
                      <a:close/>
                      <a:moveTo>
                        <a:pt x="115" y="175"/>
                      </a:moveTo>
                      <a:cubicBezTo>
                        <a:pt x="82" y="175"/>
                        <a:pt x="55" y="148"/>
                        <a:pt x="55" y="115"/>
                      </a:cubicBezTo>
                      <a:cubicBezTo>
                        <a:pt x="55" y="82"/>
                        <a:pt x="82" y="55"/>
                        <a:pt x="115" y="55"/>
                      </a:cubicBezTo>
                      <a:cubicBezTo>
                        <a:pt x="148" y="55"/>
                        <a:pt x="175" y="82"/>
                        <a:pt x="175" y="115"/>
                      </a:cubicBezTo>
                      <a:cubicBezTo>
                        <a:pt x="175" y="148"/>
                        <a:pt x="148" y="175"/>
                        <a:pt x="115" y="175"/>
                      </a:cubicBezTo>
                      <a:close/>
                      <a:moveTo>
                        <a:pt x="115" y="175"/>
                      </a:moveTo>
                      <a:cubicBezTo>
                        <a:pt x="115" y="175"/>
                        <a:pt x="115" y="175"/>
                        <a:pt x="115" y="17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sz="1200"/>
                </a:p>
              </p:txBody>
            </p:sp>
          </p:grpSp>
          <p:grpSp>
            <p:nvGrpSpPr>
              <p:cNvPr id="83" name="Gruppieren 82"/>
              <p:cNvGrpSpPr/>
              <p:nvPr/>
            </p:nvGrpSpPr>
            <p:grpSpPr>
              <a:xfrm>
                <a:off x="7407297" y="4251536"/>
                <a:ext cx="1893710" cy="502309"/>
                <a:chOff x="566842" y="2989263"/>
                <a:chExt cx="5856183" cy="1553359"/>
              </a:xfrm>
              <a:effectLst>
                <a:outerShdw blurRad="50800" dist="38100" dir="8100000" algn="tr" rotWithShape="0">
                  <a:prstClr val="black">
                    <a:alpha val="40000"/>
                  </a:prstClr>
                </a:outerShdw>
              </a:effectLst>
            </p:grpSpPr>
            <p:sp>
              <p:nvSpPr>
                <p:cNvPr id="82" name="Ellipse 81"/>
                <p:cNvSpPr/>
                <p:nvPr/>
              </p:nvSpPr>
              <p:spPr>
                <a:xfrm>
                  <a:off x="5858218" y="3079048"/>
                  <a:ext cx="475564" cy="47556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81" name="Freeform 53"/>
                <p:cNvSpPr>
                  <a:spLocks noEditPoints="1"/>
                </p:cNvSpPr>
                <p:nvPr/>
              </p:nvSpPr>
              <p:spPr bwMode="auto">
                <a:xfrm>
                  <a:off x="5772150" y="2989263"/>
                  <a:ext cx="650875" cy="882650"/>
                </a:xfrm>
                <a:custGeom>
                  <a:avLst/>
                  <a:gdLst>
                    <a:gd name="T0" fmla="*/ 115 w 230"/>
                    <a:gd name="T1" fmla="*/ 0 h 313"/>
                    <a:gd name="T2" fmla="*/ 0 w 230"/>
                    <a:gd name="T3" fmla="*/ 115 h 313"/>
                    <a:gd name="T4" fmla="*/ 10 w 230"/>
                    <a:gd name="T5" fmla="*/ 162 h 313"/>
                    <a:gd name="T6" fmla="*/ 110 w 230"/>
                    <a:gd name="T7" fmla="*/ 310 h 313"/>
                    <a:gd name="T8" fmla="*/ 115 w 230"/>
                    <a:gd name="T9" fmla="*/ 313 h 313"/>
                    <a:gd name="T10" fmla="*/ 120 w 230"/>
                    <a:gd name="T11" fmla="*/ 310 h 313"/>
                    <a:gd name="T12" fmla="*/ 220 w 230"/>
                    <a:gd name="T13" fmla="*/ 162 h 313"/>
                    <a:gd name="T14" fmla="*/ 230 w 230"/>
                    <a:gd name="T15" fmla="*/ 115 h 313"/>
                    <a:gd name="T16" fmla="*/ 115 w 230"/>
                    <a:gd name="T17" fmla="*/ 0 h 313"/>
                    <a:gd name="T18" fmla="*/ 115 w 230"/>
                    <a:gd name="T19" fmla="*/ 175 h 313"/>
                    <a:gd name="T20" fmla="*/ 55 w 230"/>
                    <a:gd name="T21" fmla="*/ 115 h 313"/>
                    <a:gd name="T22" fmla="*/ 115 w 230"/>
                    <a:gd name="T23" fmla="*/ 55 h 313"/>
                    <a:gd name="T24" fmla="*/ 175 w 230"/>
                    <a:gd name="T25" fmla="*/ 115 h 313"/>
                    <a:gd name="T26" fmla="*/ 115 w 230"/>
                    <a:gd name="T27" fmla="*/ 175 h 313"/>
                    <a:gd name="T28" fmla="*/ 115 w 230"/>
                    <a:gd name="T29" fmla="*/ 175 h 313"/>
                    <a:gd name="T30" fmla="*/ 115 w 230"/>
                    <a:gd name="T31" fmla="*/ 17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 h="313">
                      <a:moveTo>
                        <a:pt x="115" y="0"/>
                      </a:moveTo>
                      <a:cubicBezTo>
                        <a:pt x="52" y="0"/>
                        <a:pt x="0" y="52"/>
                        <a:pt x="0" y="115"/>
                      </a:cubicBezTo>
                      <a:cubicBezTo>
                        <a:pt x="0" y="132"/>
                        <a:pt x="3" y="147"/>
                        <a:pt x="10" y="162"/>
                      </a:cubicBezTo>
                      <a:cubicBezTo>
                        <a:pt x="39" y="225"/>
                        <a:pt x="94" y="292"/>
                        <a:pt x="110" y="310"/>
                      </a:cubicBezTo>
                      <a:cubicBezTo>
                        <a:pt x="111" y="312"/>
                        <a:pt x="113" y="313"/>
                        <a:pt x="115" y="313"/>
                      </a:cubicBezTo>
                      <a:cubicBezTo>
                        <a:pt x="117" y="313"/>
                        <a:pt x="119" y="312"/>
                        <a:pt x="120" y="310"/>
                      </a:cubicBezTo>
                      <a:cubicBezTo>
                        <a:pt x="136" y="292"/>
                        <a:pt x="191" y="225"/>
                        <a:pt x="220" y="162"/>
                      </a:cubicBezTo>
                      <a:cubicBezTo>
                        <a:pt x="227" y="147"/>
                        <a:pt x="230" y="132"/>
                        <a:pt x="230" y="115"/>
                      </a:cubicBezTo>
                      <a:cubicBezTo>
                        <a:pt x="230" y="52"/>
                        <a:pt x="179" y="0"/>
                        <a:pt x="115" y="0"/>
                      </a:cubicBezTo>
                      <a:close/>
                      <a:moveTo>
                        <a:pt x="115" y="175"/>
                      </a:moveTo>
                      <a:cubicBezTo>
                        <a:pt x="82" y="175"/>
                        <a:pt x="55" y="148"/>
                        <a:pt x="55" y="115"/>
                      </a:cubicBezTo>
                      <a:cubicBezTo>
                        <a:pt x="55" y="82"/>
                        <a:pt x="82" y="55"/>
                        <a:pt x="115" y="55"/>
                      </a:cubicBezTo>
                      <a:cubicBezTo>
                        <a:pt x="148" y="55"/>
                        <a:pt x="175" y="82"/>
                        <a:pt x="175" y="115"/>
                      </a:cubicBezTo>
                      <a:cubicBezTo>
                        <a:pt x="175" y="148"/>
                        <a:pt x="148" y="175"/>
                        <a:pt x="115" y="175"/>
                      </a:cubicBezTo>
                      <a:close/>
                      <a:moveTo>
                        <a:pt x="115" y="175"/>
                      </a:moveTo>
                      <a:cubicBezTo>
                        <a:pt x="115" y="175"/>
                        <a:pt x="115" y="175"/>
                        <a:pt x="115" y="17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sz="1200"/>
                </a:p>
              </p:txBody>
            </p:sp>
            <p:sp>
              <p:nvSpPr>
                <p:cNvPr id="99" name="Ellipse 98"/>
                <p:cNvSpPr/>
                <p:nvPr/>
              </p:nvSpPr>
              <p:spPr>
                <a:xfrm>
                  <a:off x="652910" y="3749757"/>
                  <a:ext cx="475565" cy="4755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101" name="Freeform 53"/>
                <p:cNvSpPr>
                  <a:spLocks noEditPoints="1"/>
                </p:cNvSpPr>
                <p:nvPr/>
              </p:nvSpPr>
              <p:spPr bwMode="auto">
                <a:xfrm>
                  <a:off x="566842" y="3659972"/>
                  <a:ext cx="650875" cy="882650"/>
                </a:xfrm>
                <a:custGeom>
                  <a:avLst/>
                  <a:gdLst>
                    <a:gd name="T0" fmla="*/ 115 w 230"/>
                    <a:gd name="T1" fmla="*/ 0 h 313"/>
                    <a:gd name="T2" fmla="*/ 0 w 230"/>
                    <a:gd name="T3" fmla="*/ 115 h 313"/>
                    <a:gd name="T4" fmla="*/ 10 w 230"/>
                    <a:gd name="T5" fmla="*/ 162 h 313"/>
                    <a:gd name="T6" fmla="*/ 110 w 230"/>
                    <a:gd name="T7" fmla="*/ 310 h 313"/>
                    <a:gd name="T8" fmla="*/ 115 w 230"/>
                    <a:gd name="T9" fmla="*/ 313 h 313"/>
                    <a:gd name="T10" fmla="*/ 120 w 230"/>
                    <a:gd name="T11" fmla="*/ 310 h 313"/>
                    <a:gd name="T12" fmla="*/ 220 w 230"/>
                    <a:gd name="T13" fmla="*/ 162 h 313"/>
                    <a:gd name="T14" fmla="*/ 230 w 230"/>
                    <a:gd name="T15" fmla="*/ 115 h 313"/>
                    <a:gd name="T16" fmla="*/ 115 w 230"/>
                    <a:gd name="T17" fmla="*/ 0 h 313"/>
                    <a:gd name="T18" fmla="*/ 115 w 230"/>
                    <a:gd name="T19" fmla="*/ 175 h 313"/>
                    <a:gd name="T20" fmla="*/ 55 w 230"/>
                    <a:gd name="T21" fmla="*/ 115 h 313"/>
                    <a:gd name="T22" fmla="*/ 115 w 230"/>
                    <a:gd name="T23" fmla="*/ 55 h 313"/>
                    <a:gd name="T24" fmla="*/ 175 w 230"/>
                    <a:gd name="T25" fmla="*/ 115 h 313"/>
                    <a:gd name="T26" fmla="*/ 115 w 230"/>
                    <a:gd name="T27" fmla="*/ 175 h 313"/>
                    <a:gd name="T28" fmla="*/ 115 w 230"/>
                    <a:gd name="T29" fmla="*/ 175 h 313"/>
                    <a:gd name="T30" fmla="*/ 115 w 230"/>
                    <a:gd name="T31" fmla="*/ 17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 h="313">
                      <a:moveTo>
                        <a:pt x="115" y="0"/>
                      </a:moveTo>
                      <a:cubicBezTo>
                        <a:pt x="52" y="0"/>
                        <a:pt x="0" y="52"/>
                        <a:pt x="0" y="115"/>
                      </a:cubicBezTo>
                      <a:cubicBezTo>
                        <a:pt x="0" y="132"/>
                        <a:pt x="3" y="147"/>
                        <a:pt x="10" y="162"/>
                      </a:cubicBezTo>
                      <a:cubicBezTo>
                        <a:pt x="39" y="225"/>
                        <a:pt x="94" y="292"/>
                        <a:pt x="110" y="310"/>
                      </a:cubicBezTo>
                      <a:cubicBezTo>
                        <a:pt x="111" y="312"/>
                        <a:pt x="113" y="313"/>
                        <a:pt x="115" y="313"/>
                      </a:cubicBezTo>
                      <a:cubicBezTo>
                        <a:pt x="117" y="313"/>
                        <a:pt x="119" y="312"/>
                        <a:pt x="120" y="310"/>
                      </a:cubicBezTo>
                      <a:cubicBezTo>
                        <a:pt x="136" y="292"/>
                        <a:pt x="191" y="225"/>
                        <a:pt x="220" y="162"/>
                      </a:cubicBezTo>
                      <a:cubicBezTo>
                        <a:pt x="227" y="147"/>
                        <a:pt x="230" y="132"/>
                        <a:pt x="230" y="115"/>
                      </a:cubicBezTo>
                      <a:cubicBezTo>
                        <a:pt x="230" y="52"/>
                        <a:pt x="179" y="0"/>
                        <a:pt x="115" y="0"/>
                      </a:cubicBezTo>
                      <a:close/>
                      <a:moveTo>
                        <a:pt x="115" y="175"/>
                      </a:moveTo>
                      <a:cubicBezTo>
                        <a:pt x="82" y="175"/>
                        <a:pt x="55" y="148"/>
                        <a:pt x="55" y="115"/>
                      </a:cubicBezTo>
                      <a:cubicBezTo>
                        <a:pt x="55" y="82"/>
                        <a:pt x="82" y="55"/>
                        <a:pt x="115" y="55"/>
                      </a:cubicBezTo>
                      <a:cubicBezTo>
                        <a:pt x="148" y="55"/>
                        <a:pt x="175" y="82"/>
                        <a:pt x="175" y="115"/>
                      </a:cubicBezTo>
                      <a:cubicBezTo>
                        <a:pt x="175" y="148"/>
                        <a:pt x="148" y="175"/>
                        <a:pt x="115" y="175"/>
                      </a:cubicBezTo>
                      <a:close/>
                      <a:moveTo>
                        <a:pt x="115" y="175"/>
                      </a:moveTo>
                      <a:cubicBezTo>
                        <a:pt x="115" y="175"/>
                        <a:pt x="115" y="175"/>
                        <a:pt x="115" y="17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sz="1200"/>
                </a:p>
              </p:txBody>
            </p:sp>
          </p:grpSp>
          <p:grpSp>
            <p:nvGrpSpPr>
              <p:cNvPr id="95" name="Gruppieren 94"/>
              <p:cNvGrpSpPr/>
              <p:nvPr/>
            </p:nvGrpSpPr>
            <p:grpSpPr>
              <a:xfrm>
                <a:off x="10647138" y="5104210"/>
                <a:ext cx="136813" cy="185532"/>
                <a:chOff x="5772150" y="2989263"/>
                <a:chExt cx="650875" cy="882650"/>
              </a:xfrm>
              <a:effectLst>
                <a:outerShdw blurRad="50800" dist="38100" dir="8100000" algn="tr" rotWithShape="0">
                  <a:prstClr val="black">
                    <a:alpha val="40000"/>
                  </a:prstClr>
                </a:outerShdw>
              </a:effectLst>
            </p:grpSpPr>
            <p:sp>
              <p:nvSpPr>
                <p:cNvPr id="96" name="Ellipse 95"/>
                <p:cNvSpPr/>
                <p:nvPr/>
              </p:nvSpPr>
              <p:spPr>
                <a:xfrm>
                  <a:off x="5858218" y="3079048"/>
                  <a:ext cx="475564" cy="4755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a:p>
              </p:txBody>
            </p:sp>
            <p:sp>
              <p:nvSpPr>
                <p:cNvPr id="97" name="Freeform 53"/>
                <p:cNvSpPr>
                  <a:spLocks noEditPoints="1"/>
                </p:cNvSpPr>
                <p:nvPr/>
              </p:nvSpPr>
              <p:spPr bwMode="auto">
                <a:xfrm>
                  <a:off x="5772150" y="2989263"/>
                  <a:ext cx="650875" cy="882650"/>
                </a:xfrm>
                <a:custGeom>
                  <a:avLst/>
                  <a:gdLst>
                    <a:gd name="T0" fmla="*/ 115 w 230"/>
                    <a:gd name="T1" fmla="*/ 0 h 313"/>
                    <a:gd name="T2" fmla="*/ 0 w 230"/>
                    <a:gd name="T3" fmla="*/ 115 h 313"/>
                    <a:gd name="T4" fmla="*/ 10 w 230"/>
                    <a:gd name="T5" fmla="*/ 162 h 313"/>
                    <a:gd name="T6" fmla="*/ 110 w 230"/>
                    <a:gd name="T7" fmla="*/ 310 h 313"/>
                    <a:gd name="T8" fmla="*/ 115 w 230"/>
                    <a:gd name="T9" fmla="*/ 313 h 313"/>
                    <a:gd name="T10" fmla="*/ 120 w 230"/>
                    <a:gd name="T11" fmla="*/ 310 h 313"/>
                    <a:gd name="T12" fmla="*/ 220 w 230"/>
                    <a:gd name="T13" fmla="*/ 162 h 313"/>
                    <a:gd name="T14" fmla="*/ 230 w 230"/>
                    <a:gd name="T15" fmla="*/ 115 h 313"/>
                    <a:gd name="T16" fmla="*/ 115 w 230"/>
                    <a:gd name="T17" fmla="*/ 0 h 313"/>
                    <a:gd name="T18" fmla="*/ 115 w 230"/>
                    <a:gd name="T19" fmla="*/ 175 h 313"/>
                    <a:gd name="T20" fmla="*/ 55 w 230"/>
                    <a:gd name="T21" fmla="*/ 115 h 313"/>
                    <a:gd name="T22" fmla="*/ 115 w 230"/>
                    <a:gd name="T23" fmla="*/ 55 h 313"/>
                    <a:gd name="T24" fmla="*/ 175 w 230"/>
                    <a:gd name="T25" fmla="*/ 115 h 313"/>
                    <a:gd name="T26" fmla="*/ 115 w 230"/>
                    <a:gd name="T27" fmla="*/ 175 h 313"/>
                    <a:gd name="T28" fmla="*/ 115 w 230"/>
                    <a:gd name="T29" fmla="*/ 175 h 313"/>
                    <a:gd name="T30" fmla="*/ 115 w 230"/>
                    <a:gd name="T31" fmla="*/ 17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 h="313">
                      <a:moveTo>
                        <a:pt x="115" y="0"/>
                      </a:moveTo>
                      <a:cubicBezTo>
                        <a:pt x="52" y="0"/>
                        <a:pt x="0" y="52"/>
                        <a:pt x="0" y="115"/>
                      </a:cubicBezTo>
                      <a:cubicBezTo>
                        <a:pt x="0" y="132"/>
                        <a:pt x="3" y="147"/>
                        <a:pt x="10" y="162"/>
                      </a:cubicBezTo>
                      <a:cubicBezTo>
                        <a:pt x="39" y="225"/>
                        <a:pt x="94" y="292"/>
                        <a:pt x="110" y="310"/>
                      </a:cubicBezTo>
                      <a:cubicBezTo>
                        <a:pt x="111" y="312"/>
                        <a:pt x="113" y="313"/>
                        <a:pt x="115" y="313"/>
                      </a:cubicBezTo>
                      <a:cubicBezTo>
                        <a:pt x="117" y="313"/>
                        <a:pt x="119" y="312"/>
                        <a:pt x="120" y="310"/>
                      </a:cubicBezTo>
                      <a:cubicBezTo>
                        <a:pt x="136" y="292"/>
                        <a:pt x="191" y="225"/>
                        <a:pt x="220" y="162"/>
                      </a:cubicBezTo>
                      <a:cubicBezTo>
                        <a:pt x="227" y="147"/>
                        <a:pt x="230" y="132"/>
                        <a:pt x="230" y="115"/>
                      </a:cubicBezTo>
                      <a:cubicBezTo>
                        <a:pt x="230" y="52"/>
                        <a:pt x="179" y="0"/>
                        <a:pt x="115" y="0"/>
                      </a:cubicBezTo>
                      <a:close/>
                      <a:moveTo>
                        <a:pt x="115" y="175"/>
                      </a:moveTo>
                      <a:cubicBezTo>
                        <a:pt x="82" y="175"/>
                        <a:pt x="55" y="148"/>
                        <a:pt x="55" y="115"/>
                      </a:cubicBezTo>
                      <a:cubicBezTo>
                        <a:pt x="55" y="82"/>
                        <a:pt x="82" y="55"/>
                        <a:pt x="115" y="55"/>
                      </a:cubicBezTo>
                      <a:cubicBezTo>
                        <a:pt x="148" y="55"/>
                        <a:pt x="175" y="82"/>
                        <a:pt x="175" y="115"/>
                      </a:cubicBezTo>
                      <a:cubicBezTo>
                        <a:pt x="175" y="148"/>
                        <a:pt x="148" y="175"/>
                        <a:pt x="115" y="175"/>
                      </a:cubicBezTo>
                      <a:close/>
                      <a:moveTo>
                        <a:pt x="115" y="175"/>
                      </a:moveTo>
                      <a:cubicBezTo>
                        <a:pt x="115" y="175"/>
                        <a:pt x="115" y="175"/>
                        <a:pt x="115" y="17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sz="1200"/>
                </a:p>
              </p:txBody>
            </p:sp>
          </p:grpSp>
        </p:grpSp>
        <p:sp>
          <p:nvSpPr>
            <p:cNvPr id="44" name="Rectangle 40"/>
            <p:cNvSpPr/>
            <p:nvPr/>
          </p:nvSpPr>
          <p:spPr>
            <a:xfrm>
              <a:off x="8803307" y="3394858"/>
              <a:ext cx="3113173" cy="1077218"/>
            </a:xfrm>
            <a:prstGeom prst="rect">
              <a:avLst/>
            </a:prstGeom>
          </p:spPr>
          <p:txBody>
            <a:bodyPr wrap="square" lIns="0" tIns="0" rIns="0" bIns="0">
              <a:spAutoFit/>
            </a:bodyPr>
            <a:lstStyle/>
            <a:p>
              <a:r>
                <a:rPr lang="en-US" b="1" dirty="0">
                  <a:solidFill>
                    <a:srgbClr val="0068B4"/>
                  </a:solidFill>
                </a:rPr>
                <a:t>Headquarters </a:t>
              </a:r>
              <a:br>
                <a:rPr lang="en-US" b="1" dirty="0">
                  <a:solidFill>
                    <a:srgbClr val="0068B4"/>
                  </a:solidFill>
                </a:rPr>
              </a:br>
              <a:r>
                <a:rPr lang="en-US" sz="1400" b="1" dirty="0">
                  <a:solidFill>
                    <a:srgbClr val="0068B4"/>
                  </a:solidFill>
                </a:rPr>
                <a:t>Aachen, Germany</a:t>
              </a:r>
              <a:br>
                <a:rPr lang="en-US" sz="1400" b="1" dirty="0">
                  <a:solidFill>
                    <a:srgbClr val="0068B4"/>
                  </a:solidFill>
                </a:rPr>
              </a:br>
              <a:r>
                <a:rPr lang="en-US" sz="1400" b="1" dirty="0">
                  <a:solidFill>
                    <a:srgbClr val="0068B4"/>
                  </a:solidFill>
                </a:rPr>
                <a:t>Campbell (CA), USA</a:t>
              </a:r>
            </a:p>
            <a:p>
              <a:r>
                <a:rPr lang="en-US" sz="1200" dirty="0"/>
                <a:t>Worldwide offices and global partner landscape</a:t>
              </a:r>
            </a:p>
          </p:txBody>
        </p:sp>
        <p:grpSp>
          <p:nvGrpSpPr>
            <p:cNvPr id="13" name="Gruppieren 12"/>
            <p:cNvGrpSpPr/>
            <p:nvPr/>
          </p:nvGrpSpPr>
          <p:grpSpPr>
            <a:xfrm>
              <a:off x="8036031" y="3472585"/>
              <a:ext cx="569337" cy="565015"/>
              <a:chOff x="6654680" y="3663912"/>
              <a:chExt cx="673200" cy="673200"/>
            </a:xfrm>
          </p:grpSpPr>
          <p:sp>
            <p:nvSpPr>
              <p:cNvPr id="10" name="Ellipse 9"/>
              <p:cNvSpPr/>
              <p:nvPr/>
            </p:nvSpPr>
            <p:spPr>
              <a:xfrm>
                <a:off x="6654680" y="3663912"/>
                <a:ext cx="673200" cy="6732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solidFill>
                    <a:schemeClr val="tx1"/>
                  </a:solidFill>
                </a:endParaRPr>
              </a:p>
            </p:txBody>
          </p:sp>
          <p:grpSp>
            <p:nvGrpSpPr>
              <p:cNvPr id="100" name="Group 60"/>
              <p:cNvGrpSpPr>
                <a:grpSpLocks noChangeAspect="1"/>
              </p:cNvGrpSpPr>
              <p:nvPr/>
            </p:nvGrpSpPr>
            <p:grpSpPr bwMode="auto">
              <a:xfrm>
                <a:off x="6654730" y="3663962"/>
                <a:ext cx="673100" cy="673100"/>
                <a:chOff x="2036" y="358"/>
                <a:chExt cx="3606" cy="3606"/>
              </a:xfrm>
              <a:solidFill>
                <a:schemeClr val="accent1"/>
              </a:solidFill>
            </p:grpSpPr>
            <p:sp>
              <p:nvSpPr>
                <p:cNvPr id="102" name="Freeform 61"/>
                <p:cNvSpPr>
                  <a:spLocks/>
                </p:cNvSpPr>
                <p:nvPr/>
              </p:nvSpPr>
              <p:spPr bwMode="auto">
                <a:xfrm>
                  <a:off x="3101" y="2267"/>
                  <a:ext cx="632" cy="693"/>
                </a:xfrm>
                <a:custGeom>
                  <a:avLst/>
                  <a:gdLst>
                    <a:gd name="T0" fmla="*/ 359 w 359"/>
                    <a:gd name="T1" fmla="*/ 0 h 394"/>
                    <a:gd name="T2" fmla="*/ 0 w 359"/>
                    <a:gd name="T3" fmla="*/ 0 h 394"/>
                    <a:gd name="T4" fmla="*/ 59 w 359"/>
                    <a:gd name="T5" fmla="*/ 394 h 394"/>
                    <a:gd name="T6" fmla="*/ 359 w 359"/>
                    <a:gd name="T7" fmla="*/ 361 h 394"/>
                    <a:gd name="T8" fmla="*/ 359 w 359"/>
                    <a:gd name="T9" fmla="*/ 0 h 394"/>
                  </a:gdLst>
                  <a:ahLst/>
                  <a:cxnLst>
                    <a:cxn ang="0">
                      <a:pos x="T0" y="T1"/>
                    </a:cxn>
                    <a:cxn ang="0">
                      <a:pos x="T2" y="T3"/>
                    </a:cxn>
                    <a:cxn ang="0">
                      <a:pos x="T4" y="T5"/>
                    </a:cxn>
                    <a:cxn ang="0">
                      <a:pos x="T6" y="T7"/>
                    </a:cxn>
                    <a:cxn ang="0">
                      <a:pos x="T8" y="T9"/>
                    </a:cxn>
                  </a:cxnLst>
                  <a:rect l="0" t="0" r="r" b="b"/>
                  <a:pathLst>
                    <a:path w="359" h="394">
                      <a:moveTo>
                        <a:pt x="359" y="0"/>
                      </a:moveTo>
                      <a:cubicBezTo>
                        <a:pt x="0" y="0"/>
                        <a:pt x="0" y="0"/>
                        <a:pt x="0" y="0"/>
                      </a:cubicBezTo>
                      <a:cubicBezTo>
                        <a:pt x="5" y="142"/>
                        <a:pt x="26" y="276"/>
                        <a:pt x="59" y="394"/>
                      </a:cubicBezTo>
                      <a:cubicBezTo>
                        <a:pt x="153" y="376"/>
                        <a:pt x="254" y="365"/>
                        <a:pt x="359" y="361"/>
                      </a:cubicBezTo>
                      <a:lnTo>
                        <a:pt x="3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3" name="Freeform 62"/>
                <p:cNvSpPr>
                  <a:spLocks/>
                </p:cNvSpPr>
                <p:nvPr/>
              </p:nvSpPr>
              <p:spPr bwMode="auto">
                <a:xfrm>
                  <a:off x="3272" y="3114"/>
                  <a:ext cx="461" cy="625"/>
                </a:xfrm>
                <a:custGeom>
                  <a:avLst/>
                  <a:gdLst>
                    <a:gd name="T0" fmla="*/ 262 w 262"/>
                    <a:gd name="T1" fmla="*/ 355 h 355"/>
                    <a:gd name="T2" fmla="*/ 262 w 262"/>
                    <a:gd name="T3" fmla="*/ 0 h 355"/>
                    <a:gd name="T4" fmla="*/ 0 w 262"/>
                    <a:gd name="T5" fmla="*/ 28 h 355"/>
                    <a:gd name="T6" fmla="*/ 262 w 262"/>
                    <a:gd name="T7" fmla="*/ 355 h 355"/>
                  </a:gdLst>
                  <a:ahLst/>
                  <a:cxnLst>
                    <a:cxn ang="0">
                      <a:pos x="T0" y="T1"/>
                    </a:cxn>
                    <a:cxn ang="0">
                      <a:pos x="T2" y="T3"/>
                    </a:cxn>
                    <a:cxn ang="0">
                      <a:pos x="T4" y="T5"/>
                    </a:cxn>
                    <a:cxn ang="0">
                      <a:pos x="T6" y="T7"/>
                    </a:cxn>
                  </a:cxnLst>
                  <a:rect l="0" t="0" r="r" b="b"/>
                  <a:pathLst>
                    <a:path w="262" h="355">
                      <a:moveTo>
                        <a:pt x="262" y="355"/>
                      </a:moveTo>
                      <a:cubicBezTo>
                        <a:pt x="262" y="0"/>
                        <a:pt x="262" y="0"/>
                        <a:pt x="262" y="0"/>
                      </a:cubicBezTo>
                      <a:cubicBezTo>
                        <a:pt x="171" y="3"/>
                        <a:pt x="82" y="13"/>
                        <a:pt x="0" y="28"/>
                      </a:cubicBezTo>
                      <a:cubicBezTo>
                        <a:pt x="65" y="197"/>
                        <a:pt x="158" y="321"/>
                        <a:pt x="262" y="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4" name="Freeform 63"/>
                <p:cNvSpPr>
                  <a:spLocks/>
                </p:cNvSpPr>
                <p:nvPr/>
              </p:nvSpPr>
              <p:spPr bwMode="auto">
                <a:xfrm>
                  <a:off x="2036" y="1060"/>
                  <a:ext cx="961" cy="995"/>
                </a:xfrm>
                <a:custGeom>
                  <a:avLst/>
                  <a:gdLst>
                    <a:gd name="T0" fmla="*/ 546 w 546"/>
                    <a:gd name="T1" fmla="*/ 143 h 565"/>
                    <a:gd name="T2" fmla="*/ 220 w 546"/>
                    <a:gd name="T3" fmla="*/ 0 h 565"/>
                    <a:gd name="T4" fmla="*/ 0 w 546"/>
                    <a:gd name="T5" fmla="*/ 565 h 565"/>
                    <a:gd name="T6" fmla="*/ 486 w 546"/>
                    <a:gd name="T7" fmla="*/ 565 h 565"/>
                    <a:gd name="T8" fmla="*/ 546 w 546"/>
                    <a:gd name="T9" fmla="*/ 143 h 565"/>
                  </a:gdLst>
                  <a:ahLst/>
                  <a:cxnLst>
                    <a:cxn ang="0">
                      <a:pos x="T0" y="T1"/>
                    </a:cxn>
                    <a:cxn ang="0">
                      <a:pos x="T2" y="T3"/>
                    </a:cxn>
                    <a:cxn ang="0">
                      <a:pos x="T4" y="T5"/>
                    </a:cxn>
                    <a:cxn ang="0">
                      <a:pos x="T6" y="T7"/>
                    </a:cxn>
                    <a:cxn ang="0">
                      <a:pos x="T8" y="T9"/>
                    </a:cxn>
                  </a:cxnLst>
                  <a:rect l="0" t="0" r="r" b="b"/>
                  <a:pathLst>
                    <a:path w="546" h="565">
                      <a:moveTo>
                        <a:pt x="546" y="143"/>
                      </a:moveTo>
                      <a:cubicBezTo>
                        <a:pt x="420" y="108"/>
                        <a:pt x="308" y="59"/>
                        <a:pt x="220" y="0"/>
                      </a:cubicBezTo>
                      <a:cubicBezTo>
                        <a:pt x="97" y="158"/>
                        <a:pt x="12" y="353"/>
                        <a:pt x="0" y="565"/>
                      </a:cubicBezTo>
                      <a:cubicBezTo>
                        <a:pt x="486" y="565"/>
                        <a:pt x="486" y="565"/>
                        <a:pt x="486" y="565"/>
                      </a:cubicBezTo>
                      <a:cubicBezTo>
                        <a:pt x="490" y="412"/>
                        <a:pt x="511" y="269"/>
                        <a:pt x="546"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5" name="Freeform 64"/>
                <p:cNvSpPr>
                  <a:spLocks/>
                </p:cNvSpPr>
                <p:nvPr/>
              </p:nvSpPr>
              <p:spPr bwMode="auto">
                <a:xfrm>
                  <a:off x="3101" y="1360"/>
                  <a:ext cx="632" cy="695"/>
                </a:xfrm>
                <a:custGeom>
                  <a:avLst/>
                  <a:gdLst>
                    <a:gd name="T0" fmla="*/ 359 w 359"/>
                    <a:gd name="T1" fmla="*/ 33 h 395"/>
                    <a:gd name="T2" fmla="*/ 59 w 359"/>
                    <a:gd name="T3" fmla="*/ 0 h 395"/>
                    <a:gd name="T4" fmla="*/ 0 w 359"/>
                    <a:gd name="T5" fmla="*/ 395 h 395"/>
                    <a:gd name="T6" fmla="*/ 359 w 359"/>
                    <a:gd name="T7" fmla="*/ 395 h 395"/>
                    <a:gd name="T8" fmla="*/ 359 w 359"/>
                    <a:gd name="T9" fmla="*/ 33 h 395"/>
                  </a:gdLst>
                  <a:ahLst/>
                  <a:cxnLst>
                    <a:cxn ang="0">
                      <a:pos x="T0" y="T1"/>
                    </a:cxn>
                    <a:cxn ang="0">
                      <a:pos x="T2" y="T3"/>
                    </a:cxn>
                    <a:cxn ang="0">
                      <a:pos x="T4" y="T5"/>
                    </a:cxn>
                    <a:cxn ang="0">
                      <a:pos x="T6" y="T7"/>
                    </a:cxn>
                    <a:cxn ang="0">
                      <a:pos x="T8" y="T9"/>
                    </a:cxn>
                  </a:cxnLst>
                  <a:rect l="0" t="0" r="r" b="b"/>
                  <a:pathLst>
                    <a:path w="359" h="395">
                      <a:moveTo>
                        <a:pt x="359" y="33"/>
                      </a:moveTo>
                      <a:cubicBezTo>
                        <a:pt x="254" y="30"/>
                        <a:pt x="154" y="18"/>
                        <a:pt x="59" y="0"/>
                      </a:cubicBezTo>
                      <a:cubicBezTo>
                        <a:pt x="26" y="118"/>
                        <a:pt x="5" y="252"/>
                        <a:pt x="0" y="395"/>
                      </a:cubicBezTo>
                      <a:cubicBezTo>
                        <a:pt x="359" y="395"/>
                        <a:pt x="359" y="395"/>
                        <a:pt x="359" y="395"/>
                      </a:cubicBezTo>
                      <a:lnTo>
                        <a:pt x="359"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6" name="Freeform 65"/>
                <p:cNvSpPr>
                  <a:spLocks/>
                </p:cNvSpPr>
                <p:nvPr/>
              </p:nvSpPr>
              <p:spPr bwMode="auto">
                <a:xfrm>
                  <a:off x="3272" y="583"/>
                  <a:ext cx="461" cy="624"/>
                </a:xfrm>
                <a:custGeom>
                  <a:avLst/>
                  <a:gdLst>
                    <a:gd name="T0" fmla="*/ 262 w 262"/>
                    <a:gd name="T1" fmla="*/ 0 h 354"/>
                    <a:gd name="T2" fmla="*/ 0 w 262"/>
                    <a:gd name="T3" fmla="*/ 326 h 354"/>
                    <a:gd name="T4" fmla="*/ 262 w 262"/>
                    <a:gd name="T5" fmla="*/ 354 h 354"/>
                    <a:gd name="T6" fmla="*/ 262 w 262"/>
                    <a:gd name="T7" fmla="*/ 0 h 354"/>
                  </a:gdLst>
                  <a:ahLst/>
                  <a:cxnLst>
                    <a:cxn ang="0">
                      <a:pos x="T0" y="T1"/>
                    </a:cxn>
                    <a:cxn ang="0">
                      <a:pos x="T2" y="T3"/>
                    </a:cxn>
                    <a:cxn ang="0">
                      <a:pos x="T4" y="T5"/>
                    </a:cxn>
                    <a:cxn ang="0">
                      <a:pos x="T6" y="T7"/>
                    </a:cxn>
                  </a:cxnLst>
                  <a:rect l="0" t="0" r="r" b="b"/>
                  <a:pathLst>
                    <a:path w="262" h="354">
                      <a:moveTo>
                        <a:pt x="262" y="0"/>
                      </a:moveTo>
                      <a:cubicBezTo>
                        <a:pt x="158" y="34"/>
                        <a:pt x="65" y="158"/>
                        <a:pt x="0" y="326"/>
                      </a:cubicBezTo>
                      <a:cubicBezTo>
                        <a:pt x="83" y="341"/>
                        <a:pt x="171" y="351"/>
                        <a:pt x="262" y="354"/>
                      </a:cubicBez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7" name="Freeform 66"/>
                <p:cNvSpPr>
                  <a:spLocks/>
                </p:cNvSpPr>
                <p:nvPr/>
              </p:nvSpPr>
              <p:spPr bwMode="auto">
                <a:xfrm>
                  <a:off x="4681" y="2267"/>
                  <a:ext cx="961" cy="994"/>
                </a:xfrm>
                <a:custGeom>
                  <a:avLst/>
                  <a:gdLst>
                    <a:gd name="T0" fmla="*/ 546 w 546"/>
                    <a:gd name="T1" fmla="*/ 0 h 565"/>
                    <a:gd name="T2" fmla="*/ 60 w 546"/>
                    <a:gd name="T3" fmla="*/ 0 h 565"/>
                    <a:gd name="T4" fmla="*/ 0 w 546"/>
                    <a:gd name="T5" fmla="*/ 420 h 565"/>
                    <a:gd name="T6" fmla="*/ 327 w 546"/>
                    <a:gd name="T7" fmla="*/ 565 h 565"/>
                    <a:gd name="T8" fmla="*/ 546 w 546"/>
                    <a:gd name="T9" fmla="*/ 0 h 565"/>
                  </a:gdLst>
                  <a:ahLst/>
                  <a:cxnLst>
                    <a:cxn ang="0">
                      <a:pos x="T0" y="T1"/>
                    </a:cxn>
                    <a:cxn ang="0">
                      <a:pos x="T2" y="T3"/>
                    </a:cxn>
                    <a:cxn ang="0">
                      <a:pos x="T4" y="T5"/>
                    </a:cxn>
                    <a:cxn ang="0">
                      <a:pos x="T6" y="T7"/>
                    </a:cxn>
                    <a:cxn ang="0">
                      <a:pos x="T8" y="T9"/>
                    </a:cxn>
                  </a:cxnLst>
                  <a:rect l="0" t="0" r="r" b="b"/>
                  <a:pathLst>
                    <a:path w="546" h="565">
                      <a:moveTo>
                        <a:pt x="546" y="0"/>
                      </a:moveTo>
                      <a:cubicBezTo>
                        <a:pt x="60" y="0"/>
                        <a:pt x="60" y="0"/>
                        <a:pt x="60" y="0"/>
                      </a:cubicBezTo>
                      <a:cubicBezTo>
                        <a:pt x="56" y="152"/>
                        <a:pt x="35" y="294"/>
                        <a:pt x="0" y="420"/>
                      </a:cubicBezTo>
                      <a:cubicBezTo>
                        <a:pt x="129" y="455"/>
                        <a:pt x="239" y="505"/>
                        <a:pt x="327" y="565"/>
                      </a:cubicBezTo>
                      <a:cubicBezTo>
                        <a:pt x="450" y="407"/>
                        <a:pt x="534" y="212"/>
                        <a:pt x="5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8" name="Freeform 67"/>
                <p:cNvSpPr>
                  <a:spLocks/>
                </p:cNvSpPr>
                <p:nvPr/>
              </p:nvSpPr>
              <p:spPr bwMode="auto">
                <a:xfrm>
                  <a:off x="4681" y="1060"/>
                  <a:ext cx="961" cy="995"/>
                </a:xfrm>
                <a:custGeom>
                  <a:avLst/>
                  <a:gdLst>
                    <a:gd name="T0" fmla="*/ 326 w 546"/>
                    <a:gd name="T1" fmla="*/ 0 h 565"/>
                    <a:gd name="T2" fmla="*/ 0 w 546"/>
                    <a:gd name="T3" fmla="*/ 143 h 565"/>
                    <a:gd name="T4" fmla="*/ 60 w 546"/>
                    <a:gd name="T5" fmla="*/ 565 h 565"/>
                    <a:gd name="T6" fmla="*/ 546 w 546"/>
                    <a:gd name="T7" fmla="*/ 565 h 565"/>
                    <a:gd name="T8" fmla="*/ 326 w 546"/>
                    <a:gd name="T9" fmla="*/ 0 h 565"/>
                  </a:gdLst>
                  <a:ahLst/>
                  <a:cxnLst>
                    <a:cxn ang="0">
                      <a:pos x="T0" y="T1"/>
                    </a:cxn>
                    <a:cxn ang="0">
                      <a:pos x="T2" y="T3"/>
                    </a:cxn>
                    <a:cxn ang="0">
                      <a:pos x="T4" y="T5"/>
                    </a:cxn>
                    <a:cxn ang="0">
                      <a:pos x="T6" y="T7"/>
                    </a:cxn>
                    <a:cxn ang="0">
                      <a:pos x="T8" y="T9"/>
                    </a:cxn>
                  </a:cxnLst>
                  <a:rect l="0" t="0" r="r" b="b"/>
                  <a:pathLst>
                    <a:path w="546" h="565">
                      <a:moveTo>
                        <a:pt x="326" y="0"/>
                      </a:moveTo>
                      <a:cubicBezTo>
                        <a:pt x="238" y="60"/>
                        <a:pt x="127" y="109"/>
                        <a:pt x="0" y="143"/>
                      </a:cubicBezTo>
                      <a:cubicBezTo>
                        <a:pt x="35" y="270"/>
                        <a:pt x="56" y="412"/>
                        <a:pt x="60" y="565"/>
                      </a:cubicBezTo>
                      <a:cubicBezTo>
                        <a:pt x="546" y="565"/>
                        <a:pt x="546" y="565"/>
                        <a:pt x="546" y="565"/>
                      </a:cubicBezTo>
                      <a:cubicBezTo>
                        <a:pt x="534" y="353"/>
                        <a:pt x="449" y="158"/>
                        <a:pt x="3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09" name="Freeform 68"/>
                <p:cNvSpPr>
                  <a:spLocks/>
                </p:cNvSpPr>
                <p:nvPr/>
              </p:nvSpPr>
              <p:spPr bwMode="auto">
                <a:xfrm>
                  <a:off x="3945" y="358"/>
                  <a:ext cx="1171" cy="752"/>
                </a:xfrm>
                <a:custGeom>
                  <a:avLst/>
                  <a:gdLst>
                    <a:gd name="T0" fmla="*/ 380 w 665"/>
                    <a:gd name="T1" fmla="*/ 427 h 427"/>
                    <a:gd name="T2" fmla="*/ 665 w 665"/>
                    <a:gd name="T3" fmla="*/ 307 h 427"/>
                    <a:gd name="T4" fmla="*/ 0 w 665"/>
                    <a:gd name="T5" fmla="*/ 0 h 427"/>
                    <a:gd name="T6" fmla="*/ 0 w 665"/>
                    <a:gd name="T7" fmla="*/ 4 h 427"/>
                    <a:gd name="T8" fmla="*/ 380 w 665"/>
                    <a:gd name="T9" fmla="*/ 427 h 427"/>
                  </a:gdLst>
                  <a:ahLst/>
                  <a:cxnLst>
                    <a:cxn ang="0">
                      <a:pos x="T0" y="T1"/>
                    </a:cxn>
                    <a:cxn ang="0">
                      <a:pos x="T2" y="T3"/>
                    </a:cxn>
                    <a:cxn ang="0">
                      <a:pos x="T4" y="T5"/>
                    </a:cxn>
                    <a:cxn ang="0">
                      <a:pos x="T6" y="T7"/>
                    </a:cxn>
                    <a:cxn ang="0">
                      <a:pos x="T8" y="T9"/>
                    </a:cxn>
                  </a:cxnLst>
                  <a:rect l="0" t="0" r="r" b="b"/>
                  <a:pathLst>
                    <a:path w="665" h="427">
                      <a:moveTo>
                        <a:pt x="380" y="427"/>
                      </a:moveTo>
                      <a:cubicBezTo>
                        <a:pt x="491" y="397"/>
                        <a:pt x="588" y="356"/>
                        <a:pt x="665" y="307"/>
                      </a:cubicBezTo>
                      <a:cubicBezTo>
                        <a:pt x="493" y="134"/>
                        <a:pt x="259" y="15"/>
                        <a:pt x="0" y="0"/>
                      </a:cubicBezTo>
                      <a:cubicBezTo>
                        <a:pt x="0" y="4"/>
                        <a:pt x="0" y="4"/>
                        <a:pt x="0" y="4"/>
                      </a:cubicBezTo>
                      <a:cubicBezTo>
                        <a:pt x="158" y="35"/>
                        <a:pt x="294" y="198"/>
                        <a:pt x="380" y="4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0" name="Freeform 69"/>
                <p:cNvSpPr>
                  <a:spLocks/>
                </p:cNvSpPr>
                <p:nvPr/>
              </p:nvSpPr>
              <p:spPr bwMode="auto">
                <a:xfrm>
                  <a:off x="3945" y="3210"/>
                  <a:ext cx="1172" cy="754"/>
                </a:xfrm>
                <a:custGeom>
                  <a:avLst/>
                  <a:gdLst>
                    <a:gd name="T0" fmla="*/ 381 w 666"/>
                    <a:gd name="T1" fmla="*/ 0 h 428"/>
                    <a:gd name="T2" fmla="*/ 0 w 666"/>
                    <a:gd name="T3" fmla="*/ 424 h 428"/>
                    <a:gd name="T4" fmla="*/ 0 w 666"/>
                    <a:gd name="T5" fmla="*/ 428 h 428"/>
                    <a:gd name="T6" fmla="*/ 666 w 666"/>
                    <a:gd name="T7" fmla="*/ 120 h 428"/>
                    <a:gd name="T8" fmla="*/ 381 w 666"/>
                    <a:gd name="T9" fmla="*/ 0 h 428"/>
                  </a:gdLst>
                  <a:ahLst/>
                  <a:cxnLst>
                    <a:cxn ang="0">
                      <a:pos x="T0" y="T1"/>
                    </a:cxn>
                    <a:cxn ang="0">
                      <a:pos x="T2" y="T3"/>
                    </a:cxn>
                    <a:cxn ang="0">
                      <a:pos x="T4" y="T5"/>
                    </a:cxn>
                    <a:cxn ang="0">
                      <a:pos x="T6" y="T7"/>
                    </a:cxn>
                    <a:cxn ang="0">
                      <a:pos x="T8" y="T9"/>
                    </a:cxn>
                  </a:cxnLst>
                  <a:rect l="0" t="0" r="r" b="b"/>
                  <a:pathLst>
                    <a:path w="666" h="428">
                      <a:moveTo>
                        <a:pt x="381" y="0"/>
                      </a:moveTo>
                      <a:cubicBezTo>
                        <a:pt x="294" y="229"/>
                        <a:pt x="159" y="393"/>
                        <a:pt x="0" y="424"/>
                      </a:cubicBezTo>
                      <a:cubicBezTo>
                        <a:pt x="0" y="428"/>
                        <a:pt x="0" y="428"/>
                        <a:pt x="0" y="428"/>
                      </a:cubicBezTo>
                      <a:cubicBezTo>
                        <a:pt x="260" y="412"/>
                        <a:pt x="494" y="294"/>
                        <a:pt x="666" y="120"/>
                      </a:cubicBezTo>
                      <a:cubicBezTo>
                        <a:pt x="589" y="71"/>
                        <a:pt x="493" y="30"/>
                        <a:pt x="3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1" name="Freeform 70"/>
                <p:cNvSpPr>
                  <a:spLocks/>
                </p:cNvSpPr>
                <p:nvPr/>
              </p:nvSpPr>
              <p:spPr bwMode="auto">
                <a:xfrm>
                  <a:off x="3945" y="1360"/>
                  <a:ext cx="632" cy="695"/>
                </a:xfrm>
                <a:custGeom>
                  <a:avLst/>
                  <a:gdLst>
                    <a:gd name="T0" fmla="*/ 0 w 359"/>
                    <a:gd name="T1" fmla="*/ 395 h 395"/>
                    <a:gd name="T2" fmla="*/ 359 w 359"/>
                    <a:gd name="T3" fmla="*/ 395 h 395"/>
                    <a:gd name="T4" fmla="*/ 300 w 359"/>
                    <a:gd name="T5" fmla="*/ 0 h 395"/>
                    <a:gd name="T6" fmla="*/ 0 w 359"/>
                    <a:gd name="T7" fmla="*/ 33 h 395"/>
                    <a:gd name="T8" fmla="*/ 0 w 359"/>
                    <a:gd name="T9" fmla="*/ 395 h 395"/>
                  </a:gdLst>
                  <a:ahLst/>
                  <a:cxnLst>
                    <a:cxn ang="0">
                      <a:pos x="T0" y="T1"/>
                    </a:cxn>
                    <a:cxn ang="0">
                      <a:pos x="T2" y="T3"/>
                    </a:cxn>
                    <a:cxn ang="0">
                      <a:pos x="T4" y="T5"/>
                    </a:cxn>
                    <a:cxn ang="0">
                      <a:pos x="T6" y="T7"/>
                    </a:cxn>
                    <a:cxn ang="0">
                      <a:pos x="T8" y="T9"/>
                    </a:cxn>
                  </a:cxnLst>
                  <a:rect l="0" t="0" r="r" b="b"/>
                  <a:pathLst>
                    <a:path w="359" h="395">
                      <a:moveTo>
                        <a:pt x="0" y="395"/>
                      </a:moveTo>
                      <a:cubicBezTo>
                        <a:pt x="359" y="395"/>
                        <a:pt x="359" y="395"/>
                        <a:pt x="359" y="395"/>
                      </a:cubicBezTo>
                      <a:cubicBezTo>
                        <a:pt x="354" y="253"/>
                        <a:pt x="333" y="118"/>
                        <a:pt x="300" y="0"/>
                      </a:cubicBezTo>
                      <a:cubicBezTo>
                        <a:pt x="205" y="19"/>
                        <a:pt x="105" y="30"/>
                        <a:pt x="0" y="33"/>
                      </a:cubicBezTo>
                      <a:lnTo>
                        <a:pt x="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2" name="Freeform 71"/>
                <p:cNvSpPr>
                  <a:spLocks/>
                </p:cNvSpPr>
                <p:nvPr/>
              </p:nvSpPr>
              <p:spPr bwMode="auto">
                <a:xfrm>
                  <a:off x="2563" y="358"/>
                  <a:ext cx="1170" cy="753"/>
                </a:xfrm>
                <a:custGeom>
                  <a:avLst/>
                  <a:gdLst>
                    <a:gd name="T0" fmla="*/ 665 w 665"/>
                    <a:gd name="T1" fmla="*/ 0 h 428"/>
                    <a:gd name="T2" fmla="*/ 0 w 665"/>
                    <a:gd name="T3" fmla="*/ 308 h 428"/>
                    <a:gd name="T4" fmla="*/ 285 w 665"/>
                    <a:gd name="T5" fmla="*/ 428 h 428"/>
                    <a:gd name="T6" fmla="*/ 665 w 665"/>
                    <a:gd name="T7" fmla="*/ 4 h 428"/>
                    <a:gd name="T8" fmla="*/ 665 w 665"/>
                    <a:gd name="T9" fmla="*/ 0 h 428"/>
                  </a:gdLst>
                  <a:ahLst/>
                  <a:cxnLst>
                    <a:cxn ang="0">
                      <a:pos x="T0" y="T1"/>
                    </a:cxn>
                    <a:cxn ang="0">
                      <a:pos x="T2" y="T3"/>
                    </a:cxn>
                    <a:cxn ang="0">
                      <a:pos x="T4" y="T5"/>
                    </a:cxn>
                    <a:cxn ang="0">
                      <a:pos x="T6" y="T7"/>
                    </a:cxn>
                    <a:cxn ang="0">
                      <a:pos x="T8" y="T9"/>
                    </a:cxn>
                  </a:cxnLst>
                  <a:rect l="0" t="0" r="r" b="b"/>
                  <a:pathLst>
                    <a:path w="665" h="428">
                      <a:moveTo>
                        <a:pt x="665" y="0"/>
                      </a:moveTo>
                      <a:cubicBezTo>
                        <a:pt x="405" y="15"/>
                        <a:pt x="172" y="134"/>
                        <a:pt x="0" y="308"/>
                      </a:cubicBezTo>
                      <a:cubicBezTo>
                        <a:pt x="77" y="357"/>
                        <a:pt x="174" y="398"/>
                        <a:pt x="285" y="428"/>
                      </a:cubicBezTo>
                      <a:cubicBezTo>
                        <a:pt x="371" y="198"/>
                        <a:pt x="507" y="35"/>
                        <a:pt x="665" y="4"/>
                      </a:cubicBezTo>
                      <a:lnTo>
                        <a:pt x="6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3" name="Freeform 72"/>
                <p:cNvSpPr>
                  <a:spLocks/>
                </p:cNvSpPr>
                <p:nvPr/>
              </p:nvSpPr>
              <p:spPr bwMode="auto">
                <a:xfrm>
                  <a:off x="3945" y="2267"/>
                  <a:ext cx="632" cy="693"/>
                </a:xfrm>
                <a:custGeom>
                  <a:avLst/>
                  <a:gdLst>
                    <a:gd name="T0" fmla="*/ 0 w 359"/>
                    <a:gd name="T1" fmla="*/ 361 h 394"/>
                    <a:gd name="T2" fmla="*/ 300 w 359"/>
                    <a:gd name="T3" fmla="*/ 394 h 394"/>
                    <a:gd name="T4" fmla="*/ 359 w 359"/>
                    <a:gd name="T5" fmla="*/ 0 h 394"/>
                    <a:gd name="T6" fmla="*/ 0 w 359"/>
                    <a:gd name="T7" fmla="*/ 0 h 394"/>
                    <a:gd name="T8" fmla="*/ 0 w 359"/>
                    <a:gd name="T9" fmla="*/ 361 h 394"/>
                  </a:gdLst>
                  <a:ahLst/>
                  <a:cxnLst>
                    <a:cxn ang="0">
                      <a:pos x="T0" y="T1"/>
                    </a:cxn>
                    <a:cxn ang="0">
                      <a:pos x="T2" y="T3"/>
                    </a:cxn>
                    <a:cxn ang="0">
                      <a:pos x="T4" y="T5"/>
                    </a:cxn>
                    <a:cxn ang="0">
                      <a:pos x="T6" y="T7"/>
                    </a:cxn>
                    <a:cxn ang="0">
                      <a:pos x="T8" y="T9"/>
                    </a:cxn>
                  </a:cxnLst>
                  <a:rect l="0" t="0" r="r" b="b"/>
                  <a:pathLst>
                    <a:path w="359" h="394">
                      <a:moveTo>
                        <a:pt x="0" y="361"/>
                      </a:moveTo>
                      <a:cubicBezTo>
                        <a:pt x="106" y="365"/>
                        <a:pt x="206" y="376"/>
                        <a:pt x="300" y="394"/>
                      </a:cubicBezTo>
                      <a:cubicBezTo>
                        <a:pt x="333" y="276"/>
                        <a:pt x="354" y="142"/>
                        <a:pt x="359" y="0"/>
                      </a:cubicBezTo>
                      <a:cubicBezTo>
                        <a:pt x="0" y="0"/>
                        <a:pt x="0" y="0"/>
                        <a:pt x="0" y="0"/>
                      </a:cubicBezTo>
                      <a:lnTo>
                        <a:pt x="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4" name="Freeform 73"/>
                <p:cNvSpPr>
                  <a:spLocks/>
                </p:cNvSpPr>
                <p:nvPr/>
              </p:nvSpPr>
              <p:spPr bwMode="auto">
                <a:xfrm>
                  <a:off x="3945" y="3114"/>
                  <a:ext cx="463" cy="625"/>
                </a:xfrm>
                <a:custGeom>
                  <a:avLst/>
                  <a:gdLst>
                    <a:gd name="T0" fmla="*/ 0 w 263"/>
                    <a:gd name="T1" fmla="*/ 355 h 355"/>
                    <a:gd name="T2" fmla="*/ 263 w 263"/>
                    <a:gd name="T3" fmla="*/ 28 h 355"/>
                    <a:gd name="T4" fmla="*/ 0 w 263"/>
                    <a:gd name="T5" fmla="*/ 0 h 355"/>
                    <a:gd name="T6" fmla="*/ 0 w 263"/>
                    <a:gd name="T7" fmla="*/ 355 h 355"/>
                  </a:gdLst>
                  <a:ahLst/>
                  <a:cxnLst>
                    <a:cxn ang="0">
                      <a:pos x="T0" y="T1"/>
                    </a:cxn>
                    <a:cxn ang="0">
                      <a:pos x="T2" y="T3"/>
                    </a:cxn>
                    <a:cxn ang="0">
                      <a:pos x="T4" y="T5"/>
                    </a:cxn>
                    <a:cxn ang="0">
                      <a:pos x="T6" y="T7"/>
                    </a:cxn>
                  </a:cxnLst>
                  <a:rect l="0" t="0" r="r" b="b"/>
                  <a:pathLst>
                    <a:path w="263" h="355">
                      <a:moveTo>
                        <a:pt x="0" y="355"/>
                      </a:moveTo>
                      <a:cubicBezTo>
                        <a:pt x="104" y="321"/>
                        <a:pt x="197" y="197"/>
                        <a:pt x="263" y="28"/>
                      </a:cubicBezTo>
                      <a:cubicBezTo>
                        <a:pt x="180" y="13"/>
                        <a:pt x="92" y="3"/>
                        <a:pt x="0" y="0"/>
                      </a:cubicBezTo>
                      <a:lnTo>
                        <a:pt x="0"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5" name="Freeform 74"/>
                <p:cNvSpPr>
                  <a:spLocks/>
                </p:cNvSpPr>
                <p:nvPr/>
              </p:nvSpPr>
              <p:spPr bwMode="auto">
                <a:xfrm>
                  <a:off x="2036" y="2267"/>
                  <a:ext cx="961" cy="994"/>
                </a:xfrm>
                <a:custGeom>
                  <a:avLst/>
                  <a:gdLst>
                    <a:gd name="T0" fmla="*/ 546 w 546"/>
                    <a:gd name="T1" fmla="*/ 421 h 565"/>
                    <a:gd name="T2" fmla="*/ 486 w 546"/>
                    <a:gd name="T3" fmla="*/ 0 h 565"/>
                    <a:gd name="T4" fmla="*/ 0 w 546"/>
                    <a:gd name="T5" fmla="*/ 0 h 565"/>
                    <a:gd name="T6" fmla="*/ 220 w 546"/>
                    <a:gd name="T7" fmla="*/ 565 h 565"/>
                    <a:gd name="T8" fmla="*/ 546 w 546"/>
                    <a:gd name="T9" fmla="*/ 421 h 565"/>
                  </a:gdLst>
                  <a:ahLst/>
                  <a:cxnLst>
                    <a:cxn ang="0">
                      <a:pos x="T0" y="T1"/>
                    </a:cxn>
                    <a:cxn ang="0">
                      <a:pos x="T2" y="T3"/>
                    </a:cxn>
                    <a:cxn ang="0">
                      <a:pos x="T4" y="T5"/>
                    </a:cxn>
                    <a:cxn ang="0">
                      <a:pos x="T6" y="T7"/>
                    </a:cxn>
                    <a:cxn ang="0">
                      <a:pos x="T8" y="T9"/>
                    </a:cxn>
                  </a:cxnLst>
                  <a:rect l="0" t="0" r="r" b="b"/>
                  <a:pathLst>
                    <a:path w="546" h="565">
                      <a:moveTo>
                        <a:pt x="546" y="421"/>
                      </a:moveTo>
                      <a:cubicBezTo>
                        <a:pt x="511" y="295"/>
                        <a:pt x="490" y="152"/>
                        <a:pt x="486" y="0"/>
                      </a:cubicBezTo>
                      <a:cubicBezTo>
                        <a:pt x="0" y="0"/>
                        <a:pt x="0" y="0"/>
                        <a:pt x="0" y="0"/>
                      </a:cubicBezTo>
                      <a:cubicBezTo>
                        <a:pt x="12" y="212"/>
                        <a:pt x="97" y="407"/>
                        <a:pt x="220" y="565"/>
                      </a:cubicBezTo>
                      <a:cubicBezTo>
                        <a:pt x="308" y="506"/>
                        <a:pt x="418" y="456"/>
                        <a:pt x="546"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6" name="Freeform 75"/>
                <p:cNvSpPr>
                  <a:spLocks/>
                </p:cNvSpPr>
                <p:nvPr/>
              </p:nvSpPr>
              <p:spPr bwMode="auto">
                <a:xfrm>
                  <a:off x="2563" y="3210"/>
                  <a:ext cx="1170" cy="754"/>
                </a:xfrm>
                <a:custGeom>
                  <a:avLst/>
                  <a:gdLst>
                    <a:gd name="T0" fmla="*/ 665 w 665"/>
                    <a:gd name="T1" fmla="*/ 428 h 428"/>
                    <a:gd name="T2" fmla="*/ 665 w 665"/>
                    <a:gd name="T3" fmla="*/ 424 h 428"/>
                    <a:gd name="T4" fmla="*/ 285 w 665"/>
                    <a:gd name="T5" fmla="*/ 0 h 428"/>
                    <a:gd name="T6" fmla="*/ 0 w 665"/>
                    <a:gd name="T7" fmla="*/ 120 h 428"/>
                    <a:gd name="T8" fmla="*/ 665 w 665"/>
                    <a:gd name="T9" fmla="*/ 428 h 428"/>
                  </a:gdLst>
                  <a:ahLst/>
                  <a:cxnLst>
                    <a:cxn ang="0">
                      <a:pos x="T0" y="T1"/>
                    </a:cxn>
                    <a:cxn ang="0">
                      <a:pos x="T2" y="T3"/>
                    </a:cxn>
                    <a:cxn ang="0">
                      <a:pos x="T4" y="T5"/>
                    </a:cxn>
                    <a:cxn ang="0">
                      <a:pos x="T6" y="T7"/>
                    </a:cxn>
                    <a:cxn ang="0">
                      <a:pos x="T8" y="T9"/>
                    </a:cxn>
                  </a:cxnLst>
                  <a:rect l="0" t="0" r="r" b="b"/>
                  <a:pathLst>
                    <a:path w="665" h="428">
                      <a:moveTo>
                        <a:pt x="665" y="428"/>
                      </a:moveTo>
                      <a:cubicBezTo>
                        <a:pt x="665" y="424"/>
                        <a:pt x="665" y="424"/>
                        <a:pt x="665" y="424"/>
                      </a:cubicBezTo>
                      <a:cubicBezTo>
                        <a:pt x="507" y="393"/>
                        <a:pt x="371" y="229"/>
                        <a:pt x="285" y="0"/>
                      </a:cubicBezTo>
                      <a:cubicBezTo>
                        <a:pt x="173" y="30"/>
                        <a:pt x="76" y="72"/>
                        <a:pt x="0" y="120"/>
                      </a:cubicBezTo>
                      <a:cubicBezTo>
                        <a:pt x="172" y="294"/>
                        <a:pt x="405" y="412"/>
                        <a:pt x="665" y="4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17" name="Freeform 76"/>
                <p:cNvSpPr>
                  <a:spLocks/>
                </p:cNvSpPr>
                <p:nvPr/>
              </p:nvSpPr>
              <p:spPr bwMode="auto">
                <a:xfrm>
                  <a:off x="3945" y="583"/>
                  <a:ext cx="461" cy="624"/>
                </a:xfrm>
                <a:custGeom>
                  <a:avLst/>
                  <a:gdLst>
                    <a:gd name="T0" fmla="*/ 0 w 262"/>
                    <a:gd name="T1" fmla="*/ 354 h 354"/>
                    <a:gd name="T2" fmla="*/ 262 w 262"/>
                    <a:gd name="T3" fmla="*/ 325 h 354"/>
                    <a:gd name="T4" fmla="*/ 0 w 262"/>
                    <a:gd name="T5" fmla="*/ 0 h 354"/>
                    <a:gd name="T6" fmla="*/ 0 w 262"/>
                    <a:gd name="T7" fmla="*/ 354 h 354"/>
                  </a:gdLst>
                  <a:ahLst/>
                  <a:cxnLst>
                    <a:cxn ang="0">
                      <a:pos x="T0" y="T1"/>
                    </a:cxn>
                    <a:cxn ang="0">
                      <a:pos x="T2" y="T3"/>
                    </a:cxn>
                    <a:cxn ang="0">
                      <a:pos x="T4" y="T5"/>
                    </a:cxn>
                    <a:cxn ang="0">
                      <a:pos x="T6" y="T7"/>
                    </a:cxn>
                  </a:cxnLst>
                  <a:rect l="0" t="0" r="r" b="b"/>
                  <a:pathLst>
                    <a:path w="262" h="354">
                      <a:moveTo>
                        <a:pt x="0" y="354"/>
                      </a:moveTo>
                      <a:cubicBezTo>
                        <a:pt x="91" y="351"/>
                        <a:pt x="179" y="341"/>
                        <a:pt x="262" y="325"/>
                      </a:cubicBezTo>
                      <a:cubicBezTo>
                        <a:pt x="197" y="158"/>
                        <a:pt x="104" y="33"/>
                        <a:pt x="0" y="0"/>
                      </a:cubicBezTo>
                      <a:lnTo>
                        <a:pt x="0"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grpSp>
        </p:grpSp>
      </p:grpSp>
      <p:sp>
        <p:nvSpPr>
          <p:cNvPr id="3" name="Content Placeholder 2">
            <a:extLst>
              <a:ext uri="{FF2B5EF4-FFF2-40B4-BE49-F238E27FC236}">
                <a16:creationId xmlns="" xmlns:a16="http://schemas.microsoft.com/office/drawing/2014/main" id="{597C5ED2-BA71-432F-8C69-61ECDC63ECA0}"/>
              </a:ext>
            </a:extLst>
          </p:cNvPr>
          <p:cNvSpPr>
            <a:spLocks noGrp="1"/>
          </p:cNvSpPr>
          <p:nvPr>
            <p:ph idx="13"/>
          </p:nvPr>
        </p:nvSpPr>
        <p:spPr>
          <a:xfrm>
            <a:off x="838200" y="1337186"/>
            <a:ext cx="4607035" cy="1474903"/>
          </a:xfrm>
        </p:spPr>
        <p:txBody>
          <a:bodyPr/>
          <a:lstStyle/>
          <a:p>
            <a:r>
              <a:rPr lang="en-US" dirty="0"/>
              <a:t>Deep expertise in providing security </a:t>
            </a:r>
            <a:br>
              <a:rPr lang="en-US" dirty="0"/>
            </a:br>
            <a:r>
              <a:rPr lang="en-US" dirty="0"/>
              <a:t>for Critical Infrastructures</a:t>
            </a:r>
          </a:p>
          <a:p>
            <a:r>
              <a:rPr lang="en-US" dirty="0"/>
              <a:t>Our Global Market Leading </a:t>
            </a:r>
            <a:br>
              <a:rPr lang="en-US" dirty="0"/>
            </a:br>
            <a:r>
              <a:rPr lang="en-US" dirty="0"/>
              <a:t>Position</a:t>
            </a:r>
          </a:p>
          <a:p>
            <a:endParaRPr lang="de-DE" dirty="0"/>
          </a:p>
        </p:txBody>
      </p:sp>
      <p:sp>
        <p:nvSpPr>
          <p:cNvPr id="5" name="Content Placeholder 4">
            <a:extLst>
              <a:ext uri="{FF2B5EF4-FFF2-40B4-BE49-F238E27FC236}">
                <a16:creationId xmlns="" xmlns:a16="http://schemas.microsoft.com/office/drawing/2014/main" id="{28C3FDED-86B4-4C73-9A2D-831C846595EA}"/>
              </a:ext>
            </a:extLst>
          </p:cNvPr>
          <p:cNvSpPr>
            <a:spLocks noGrp="1"/>
          </p:cNvSpPr>
          <p:nvPr>
            <p:ph sz="quarter" idx="14"/>
          </p:nvPr>
        </p:nvSpPr>
        <p:spPr/>
        <p:txBody>
          <a:bodyPr/>
          <a:lstStyle/>
          <a:p>
            <a:r>
              <a:rPr lang="en-US"/>
              <a:t>Utimaco is a worldwide leader in highly specialized Cyber Security markets</a:t>
            </a:r>
            <a:endParaRPr lang="de-DE" dirty="0"/>
          </a:p>
        </p:txBody>
      </p:sp>
      <p:grpSp>
        <p:nvGrpSpPr>
          <p:cNvPr id="58" name="Gruppieren 57"/>
          <p:cNvGrpSpPr/>
          <p:nvPr/>
        </p:nvGrpSpPr>
        <p:grpSpPr>
          <a:xfrm>
            <a:off x="7947955" y="1402732"/>
            <a:ext cx="4225170" cy="740380"/>
            <a:chOff x="7947955" y="1402732"/>
            <a:chExt cx="4225170" cy="740380"/>
          </a:xfrm>
        </p:grpSpPr>
        <p:sp>
          <p:nvSpPr>
            <p:cNvPr id="138" name="Rectangle 40">
              <a:extLst>
                <a:ext uri="{FF2B5EF4-FFF2-40B4-BE49-F238E27FC236}">
                  <a16:creationId xmlns="" xmlns:a16="http://schemas.microsoft.com/office/drawing/2014/main" id="{715F8A72-134D-452E-BB4C-EC2994C3E7E0}"/>
                </a:ext>
              </a:extLst>
            </p:cNvPr>
            <p:cNvSpPr/>
            <p:nvPr/>
          </p:nvSpPr>
          <p:spPr>
            <a:xfrm>
              <a:off x="8803307" y="1631825"/>
              <a:ext cx="3369818" cy="453983"/>
            </a:xfrm>
            <a:prstGeom prst="rect">
              <a:avLst/>
            </a:prstGeom>
          </p:spPr>
          <p:txBody>
            <a:bodyPr wrap="square" lIns="0" tIns="0" rIns="0" bIns="0">
              <a:noAutofit/>
            </a:bodyPr>
            <a:lstStyle/>
            <a:p>
              <a:r>
                <a:rPr lang="en-US" b="1" dirty="0">
                  <a:solidFill>
                    <a:srgbClr val="0068B4"/>
                  </a:solidFill>
                </a:rPr>
                <a:t>220+ </a:t>
              </a:r>
              <a:r>
                <a:rPr lang="en-US" sz="1600" dirty="0"/>
                <a:t>highly skilled experts</a:t>
              </a:r>
            </a:p>
          </p:txBody>
        </p:sp>
        <p:pic>
          <p:nvPicPr>
            <p:cNvPr id="144" name="Graphic 143" descr="Team">
              <a:extLst>
                <a:ext uri="{FF2B5EF4-FFF2-40B4-BE49-F238E27FC236}">
                  <a16:creationId xmlns="" xmlns:a16="http://schemas.microsoft.com/office/drawing/2014/main" id="{D09405C2-6F4E-4D6B-94A8-338CF6F97D5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7947955" y="1402732"/>
              <a:ext cx="740380" cy="740380"/>
            </a:xfrm>
            <a:prstGeom prst="rect">
              <a:avLst/>
            </a:prstGeom>
          </p:spPr>
        </p:pic>
      </p:grpSp>
      <p:grpSp>
        <p:nvGrpSpPr>
          <p:cNvPr id="2" name="Group 1"/>
          <p:cNvGrpSpPr/>
          <p:nvPr/>
        </p:nvGrpSpPr>
        <p:grpSpPr>
          <a:xfrm>
            <a:off x="4724830" y="1469076"/>
            <a:ext cx="2841699" cy="4933242"/>
            <a:chOff x="4634691" y="783336"/>
            <a:chExt cx="3294543" cy="5626437"/>
          </a:xfrm>
        </p:grpSpPr>
        <p:sp>
          <p:nvSpPr>
            <p:cNvPr id="129" name="Oval 128">
              <a:extLst>
                <a:ext uri="{FF2B5EF4-FFF2-40B4-BE49-F238E27FC236}">
                  <a16:creationId xmlns="" xmlns:a16="http://schemas.microsoft.com/office/drawing/2014/main" id="{0EC1AB1B-367E-4D8B-BD67-252432C4DC15}"/>
                </a:ext>
              </a:extLst>
            </p:cNvPr>
            <p:cNvSpPr/>
            <p:nvPr/>
          </p:nvSpPr>
          <p:spPr>
            <a:xfrm>
              <a:off x="5649319" y="1294223"/>
              <a:ext cx="566532" cy="5665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grpSp>
          <p:nvGrpSpPr>
            <p:cNvPr id="143" name="Gruppieren 7"/>
            <p:cNvGrpSpPr/>
            <p:nvPr/>
          </p:nvGrpSpPr>
          <p:grpSpPr>
            <a:xfrm>
              <a:off x="4917681" y="1085675"/>
              <a:ext cx="2728776" cy="4735312"/>
              <a:chOff x="3275012" y="2997200"/>
              <a:chExt cx="1487489" cy="2581276"/>
            </a:xfrm>
            <a:solidFill>
              <a:srgbClr val="C5C5C6"/>
            </a:solidFill>
          </p:grpSpPr>
          <p:sp>
            <p:nvSpPr>
              <p:cNvPr id="146" name="Freeform 5"/>
              <p:cNvSpPr>
                <a:spLocks noEditPoints="1"/>
              </p:cNvSpPr>
              <p:nvPr/>
            </p:nvSpPr>
            <p:spPr bwMode="auto">
              <a:xfrm>
                <a:off x="3335338" y="2997200"/>
                <a:ext cx="1279525" cy="2581275"/>
              </a:xfrm>
              <a:custGeom>
                <a:avLst/>
                <a:gdLst>
                  <a:gd name="T0" fmla="*/ 882 w 1884"/>
                  <a:gd name="T1" fmla="*/ 1713 h 3801"/>
                  <a:gd name="T2" fmla="*/ 769 w 1884"/>
                  <a:gd name="T3" fmla="*/ 1019 h 3801"/>
                  <a:gd name="T4" fmla="*/ 507 w 1884"/>
                  <a:gd name="T5" fmla="*/ 584 h 3801"/>
                  <a:gd name="T6" fmla="*/ 291 w 1884"/>
                  <a:gd name="T7" fmla="*/ 292 h 3801"/>
                  <a:gd name="T8" fmla="*/ 557 w 1884"/>
                  <a:gd name="T9" fmla="*/ 608 h 3801"/>
                  <a:gd name="T10" fmla="*/ 582 w 1884"/>
                  <a:gd name="T11" fmla="*/ 685 h 3801"/>
                  <a:gd name="T12" fmla="*/ 671 w 1884"/>
                  <a:gd name="T13" fmla="*/ 360 h 3801"/>
                  <a:gd name="T14" fmla="*/ 627 w 1884"/>
                  <a:gd name="T15" fmla="*/ 739 h 3801"/>
                  <a:gd name="T16" fmla="*/ 838 w 1884"/>
                  <a:gd name="T17" fmla="*/ 641 h 3801"/>
                  <a:gd name="T18" fmla="*/ 862 w 1884"/>
                  <a:gd name="T19" fmla="*/ 892 h 3801"/>
                  <a:gd name="T20" fmla="*/ 966 w 1884"/>
                  <a:gd name="T21" fmla="*/ 1161 h 3801"/>
                  <a:gd name="T22" fmla="*/ 983 w 1884"/>
                  <a:gd name="T23" fmla="*/ 736 h 3801"/>
                  <a:gd name="T24" fmla="*/ 738 w 1884"/>
                  <a:gd name="T25" fmla="*/ 116 h 3801"/>
                  <a:gd name="T26" fmla="*/ 966 w 1884"/>
                  <a:gd name="T27" fmla="*/ 490 h 3801"/>
                  <a:gd name="T28" fmla="*/ 1011 w 1884"/>
                  <a:gd name="T29" fmla="*/ 316 h 3801"/>
                  <a:gd name="T30" fmla="*/ 1246 w 1884"/>
                  <a:gd name="T31" fmla="*/ 366 h 3801"/>
                  <a:gd name="T32" fmla="*/ 1309 w 1884"/>
                  <a:gd name="T33" fmla="*/ 215 h 3801"/>
                  <a:gd name="T34" fmla="*/ 1029 w 1884"/>
                  <a:gd name="T35" fmla="*/ 1138 h 3801"/>
                  <a:gd name="T36" fmla="*/ 1087 w 1884"/>
                  <a:gd name="T37" fmla="*/ 1388 h 3801"/>
                  <a:gd name="T38" fmla="*/ 1029 w 1884"/>
                  <a:gd name="T39" fmla="*/ 1565 h 3801"/>
                  <a:gd name="T40" fmla="*/ 1121 w 1884"/>
                  <a:gd name="T41" fmla="*/ 1241 h 3801"/>
                  <a:gd name="T42" fmla="*/ 1023 w 1884"/>
                  <a:gd name="T43" fmla="*/ 1647 h 3801"/>
                  <a:gd name="T44" fmla="*/ 1062 w 1884"/>
                  <a:gd name="T45" fmla="*/ 1682 h 3801"/>
                  <a:gd name="T46" fmla="*/ 1417 w 1884"/>
                  <a:gd name="T47" fmla="*/ 1112 h 3801"/>
                  <a:gd name="T48" fmla="*/ 1283 w 1884"/>
                  <a:gd name="T49" fmla="*/ 643 h 3801"/>
                  <a:gd name="T50" fmla="*/ 1437 w 1884"/>
                  <a:gd name="T51" fmla="*/ 542 h 3801"/>
                  <a:gd name="T52" fmla="*/ 1420 w 1884"/>
                  <a:gd name="T53" fmla="*/ 499 h 3801"/>
                  <a:gd name="T54" fmla="*/ 1294 w 1884"/>
                  <a:gd name="T55" fmla="*/ 858 h 3801"/>
                  <a:gd name="T56" fmla="*/ 1499 w 1884"/>
                  <a:gd name="T57" fmla="*/ 438 h 3801"/>
                  <a:gd name="T58" fmla="*/ 1412 w 1884"/>
                  <a:gd name="T59" fmla="*/ 1071 h 3801"/>
                  <a:gd name="T60" fmla="*/ 1356 w 1884"/>
                  <a:gd name="T61" fmla="*/ 861 h 3801"/>
                  <a:gd name="T62" fmla="*/ 1603 w 1884"/>
                  <a:gd name="T63" fmla="*/ 532 h 3801"/>
                  <a:gd name="T64" fmla="*/ 1367 w 1884"/>
                  <a:gd name="T65" fmla="*/ 934 h 3801"/>
                  <a:gd name="T66" fmla="*/ 1624 w 1884"/>
                  <a:gd name="T67" fmla="*/ 730 h 3801"/>
                  <a:gd name="T68" fmla="*/ 1814 w 1884"/>
                  <a:gd name="T69" fmla="*/ 534 h 3801"/>
                  <a:gd name="T70" fmla="*/ 1659 w 1884"/>
                  <a:gd name="T71" fmla="*/ 749 h 3801"/>
                  <a:gd name="T72" fmla="*/ 1445 w 1884"/>
                  <a:gd name="T73" fmla="*/ 1445 h 3801"/>
                  <a:gd name="T74" fmla="*/ 1030 w 1884"/>
                  <a:gd name="T75" fmla="*/ 2069 h 3801"/>
                  <a:gd name="T76" fmla="*/ 1131 w 1884"/>
                  <a:gd name="T77" fmla="*/ 3556 h 3801"/>
                  <a:gd name="T78" fmla="*/ 1066 w 1884"/>
                  <a:gd name="T79" fmla="*/ 3471 h 3801"/>
                  <a:gd name="T80" fmla="*/ 838 w 1884"/>
                  <a:gd name="T81" fmla="*/ 1759 h 3801"/>
                  <a:gd name="T82" fmla="*/ 591 w 1884"/>
                  <a:gd name="T83" fmla="*/ 1228 h 3801"/>
                  <a:gd name="T84" fmla="*/ 223 w 1884"/>
                  <a:gd name="T85" fmla="*/ 920 h 3801"/>
                  <a:gd name="T86" fmla="*/ 149 w 1884"/>
                  <a:gd name="T87" fmla="*/ 535 h 3801"/>
                  <a:gd name="T88" fmla="*/ 370 w 1884"/>
                  <a:gd name="T89" fmla="*/ 1020 h 3801"/>
                  <a:gd name="T90" fmla="*/ 405 w 1884"/>
                  <a:gd name="T91" fmla="*/ 801 h 3801"/>
                  <a:gd name="T92" fmla="*/ 411 w 1884"/>
                  <a:gd name="T93" fmla="*/ 781 h 3801"/>
                  <a:gd name="T94" fmla="*/ 638 w 1884"/>
                  <a:gd name="T95" fmla="*/ 1244 h 3801"/>
                  <a:gd name="T96" fmla="*/ 1222 w 1884"/>
                  <a:gd name="T97" fmla="*/ 110 h 3801"/>
                  <a:gd name="T98" fmla="*/ 677 w 1884"/>
                  <a:gd name="T99" fmla="*/ 1149 h 3801"/>
                  <a:gd name="T100" fmla="*/ 1037 w 1884"/>
                  <a:gd name="T101" fmla="*/ 224 h 3801"/>
                  <a:gd name="T102" fmla="*/ 47 w 1884"/>
                  <a:gd name="T103" fmla="*/ 604 h 3801"/>
                  <a:gd name="T104" fmla="*/ 1141 w 1884"/>
                  <a:gd name="T105" fmla="*/ 1767 h 3801"/>
                  <a:gd name="T106" fmla="*/ 797 w 1884"/>
                  <a:gd name="T107" fmla="*/ 139 h 3801"/>
                  <a:gd name="T108" fmla="*/ 540 w 1884"/>
                  <a:gd name="T109" fmla="*/ 165 h 3801"/>
                  <a:gd name="T110" fmla="*/ 396 w 1884"/>
                  <a:gd name="T111" fmla="*/ 722 h 3801"/>
                  <a:gd name="T112" fmla="*/ 1170 w 1884"/>
                  <a:gd name="T113" fmla="*/ 1221 h 3801"/>
                  <a:gd name="T114" fmla="*/ 1390 w 1884"/>
                  <a:gd name="T115" fmla="*/ 459 h 3801"/>
                  <a:gd name="T116" fmla="*/ 361 w 1884"/>
                  <a:gd name="T117" fmla="*/ 324 h 3801"/>
                  <a:gd name="T118" fmla="*/ 1097 w 1884"/>
                  <a:gd name="T119" fmla="*/ 1370 h 3801"/>
                  <a:gd name="T120" fmla="*/ 701 w 1884"/>
                  <a:gd name="T121" fmla="*/ 431 h 3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84" h="3801">
                    <a:moveTo>
                      <a:pt x="825" y="1451"/>
                    </a:moveTo>
                    <a:cubicBezTo>
                      <a:pt x="819" y="1451"/>
                      <a:pt x="814" y="1451"/>
                      <a:pt x="809" y="1451"/>
                    </a:cubicBezTo>
                    <a:cubicBezTo>
                      <a:pt x="757" y="1452"/>
                      <a:pt x="710" y="1414"/>
                      <a:pt x="700" y="1362"/>
                    </a:cubicBezTo>
                    <a:cubicBezTo>
                      <a:pt x="688" y="1300"/>
                      <a:pt x="732" y="1240"/>
                      <a:pt x="795" y="1233"/>
                    </a:cubicBezTo>
                    <a:cubicBezTo>
                      <a:pt x="842" y="1227"/>
                      <a:pt x="886" y="1252"/>
                      <a:pt x="906" y="1293"/>
                    </a:cubicBezTo>
                    <a:cubicBezTo>
                      <a:pt x="926" y="1334"/>
                      <a:pt x="919" y="1383"/>
                      <a:pt x="887" y="1417"/>
                    </a:cubicBezTo>
                    <a:cubicBezTo>
                      <a:pt x="884" y="1420"/>
                      <a:pt x="882" y="1424"/>
                      <a:pt x="882" y="1429"/>
                    </a:cubicBezTo>
                    <a:cubicBezTo>
                      <a:pt x="882" y="1524"/>
                      <a:pt x="882" y="1619"/>
                      <a:pt x="882" y="1713"/>
                    </a:cubicBezTo>
                    <a:cubicBezTo>
                      <a:pt x="882" y="1721"/>
                      <a:pt x="884" y="1726"/>
                      <a:pt x="890" y="1732"/>
                    </a:cubicBezTo>
                    <a:cubicBezTo>
                      <a:pt x="913" y="1754"/>
                      <a:pt x="935" y="1777"/>
                      <a:pt x="958" y="1800"/>
                    </a:cubicBezTo>
                    <a:cubicBezTo>
                      <a:pt x="960" y="1802"/>
                      <a:pt x="963" y="1804"/>
                      <a:pt x="966" y="1807"/>
                    </a:cubicBezTo>
                    <a:cubicBezTo>
                      <a:pt x="967" y="1804"/>
                      <a:pt x="967" y="1802"/>
                      <a:pt x="967" y="1800"/>
                    </a:cubicBezTo>
                    <a:cubicBezTo>
                      <a:pt x="967" y="1799"/>
                      <a:pt x="967" y="1797"/>
                      <a:pt x="967" y="1795"/>
                    </a:cubicBezTo>
                    <a:cubicBezTo>
                      <a:pt x="967" y="1606"/>
                      <a:pt x="967" y="1417"/>
                      <a:pt x="967" y="1228"/>
                    </a:cubicBezTo>
                    <a:cubicBezTo>
                      <a:pt x="967" y="1221"/>
                      <a:pt x="965" y="1215"/>
                      <a:pt x="960" y="1210"/>
                    </a:cubicBezTo>
                    <a:cubicBezTo>
                      <a:pt x="896" y="1146"/>
                      <a:pt x="833" y="1082"/>
                      <a:pt x="769" y="1019"/>
                    </a:cubicBezTo>
                    <a:cubicBezTo>
                      <a:pt x="761" y="1011"/>
                      <a:pt x="757" y="1002"/>
                      <a:pt x="758" y="991"/>
                    </a:cubicBezTo>
                    <a:cubicBezTo>
                      <a:pt x="758" y="964"/>
                      <a:pt x="758" y="937"/>
                      <a:pt x="758" y="909"/>
                    </a:cubicBezTo>
                    <a:cubicBezTo>
                      <a:pt x="758" y="900"/>
                      <a:pt x="755" y="893"/>
                      <a:pt x="749" y="887"/>
                    </a:cubicBezTo>
                    <a:cubicBezTo>
                      <a:pt x="689" y="828"/>
                      <a:pt x="630" y="769"/>
                      <a:pt x="571" y="710"/>
                    </a:cubicBezTo>
                    <a:cubicBezTo>
                      <a:pt x="565" y="704"/>
                      <a:pt x="563" y="698"/>
                      <a:pt x="563" y="690"/>
                    </a:cubicBezTo>
                    <a:cubicBezTo>
                      <a:pt x="563" y="672"/>
                      <a:pt x="563" y="654"/>
                      <a:pt x="563" y="637"/>
                    </a:cubicBezTo>
                    <a:cubicBezTo>
                      <a:pt x="560" y="635"/>
                      <a:pt x="556" y="634"/>
                      <a:pt x="554" y="632"/>
                    </a:cubicBezTo>
                    <a:cubicBezTo>
                      <a:pt x="538" y="616"/>
                      <a:pt x="523" y="600"/>
                      <a:pt x="507" y="584"/>
                    </a:cubicBezTo>
                    <a:cubicBezTo>
                      <a:pt x="502" y="581"/>
                      <a:pt x="501" y="576"/>
                      <a:pt x="501" y="571"/>
                    </a:cubicBezTo>
                    <a:cubicBezTo>
                      <a:pt x="501" y="549"/>
                      <a:pt x="501" y="527"/>
                      <a:pt x="501" y="505"/>
                    </a:cubicBezTo>
                    <a:cubicBezTo>
                      <a:pt x="501" y="501"/>
                      <a:pt x="500" y="497"/>
                      <a:pt x="497" y="494"/>
                    </a:cubicBezTo>
                    <a:cubicBezTo>
                      <a:pt x="454" y="450"/>
                      <a:pt x="410" y="407"/>
                      <a:pt x="367" y="364"/>
                    </a:cubicBezTo>
                    <a:cubicBezTo>
                      <a:pt x="366" y="363"/>
                      <a:pt x="365" y="362"/>
                      <a:pt x="363" y="361"/>
                    </a:cubicBezTo>
                    <a:cubicBezTo>
                      <a:pt x="351" y="372"/>
                      <a:pt x="336" y="376"/>
                      <a:pt x="319" y="373"/>
                    </a:cubicBezTo>
                    <a:cubicBezTo>
                      <a:pt x="308" y="370"/>
                      <a:pt x="298" y="364"/>
                      <a:pt x="291" y="355"/>
                    </a:cubicBezTo>
                    <a:cubicBezTo>
                      <a:pt x="276" y="337"/>
                      <a:pt x="276" y="310"/>
                      <a:pt x="291" y="292"/>
                    </a:cubicBezTo>
                    <a:cubicBezTo>
                      <a:pt x="306" y="273"/>
                      <a:pt x="332" y="268"/>
                      <a:pt x="353" y="279"/>
                    </a:cubicBezTo>
                    <a:cubicBezTo>
                      <a:pt x="377" y="292"/>
                      <a:pt x="385" y="315"/>
                      <a:pt x="376" y="345"/>
                    </a:cubicBezTo>
                    <a:cubicBezTo>
                      <a:pt x="378" y="348"/>
                      <a:pt x="380" y="350"/>
                      <a:pt x="383" y="353"/>
                    </a:cubicBezTo>
                    <a:cubicBezTo>
                      <a:pt x="426" y="396"/>
                      <a:pt x="469" y="439"/>
                      <a:pt x="512" y="482"/>
                    </a:cubicBezTo>
                    <a:cubicBezTo>
                      <a:pt x="518" y="488"/>
                      <a:pt x="521" y="494"/>
                      <a:pt x="521" y="502"/>
                    </a:cubicBezTo>
                    <a:cubicBezTo>
                      <a:pt x="520" y="523"/>
                      <a:pt x="521" y="543"/>
                      <a:pt x="520" y="564"/>
                    </a:cubicBezTo>
                    <a:cubicBezTo>
                      <a:pt x="520" y="569"/>
                      <a:pt x="521" y="573"/>
                      <a:pt x="525" y="577"/>
                    </a:cubicBezTo>
                    <a:cubicBezTo>
                      <a:pt x="536" y="587"/>
                      <a:pt x="546" y="597"/>
                      <a:pt x="557" y="608"/>
                    </a:cubicBezTo>
                    <a:cubicBezTo>
                      <a:pt x="558" y="609"/>
                      <a:pt x="560" y="610"/>
                      <a:pt x="562" y="613"/>
                    </a:cubicBezTo>
                    <a:cubicBezTo>
                      <a:pt x="562" y="479"/>
                      <a:pt x="562" y="347"/>
                      <a:pt x="562" y="215"/>
                    </a:cubicBezTo>
                    <a:cubicBezTo>
                      <a:pt x="531" y="202"/>
                      <a:pt x="517" y="182"/>
                      <a:pt x="523" y="155"/>
                    </a:cubicBezTo>
                    <a:cubicBezTo>
                      <a:pt x="527" y="132"/>
                      <a:pt x="548" y="115"/>
                      <a:pt x="571" y="114"/>
                    </a:cubicBezTo>
                    <a:cubicBezTo>
                      <a:pt x="595" y="114"/>
                      <a:pt x="616" y="131"/>
                      <a:pt x="621" y="155"/>
                    </a:cubicBezTo>
                    <a:cubicBezTo>
                      <a:pt x="626" y="181"/>
                      <a:pt x="613" y="201"/>
                      <a:pt x="582" y="214"/>
                    </a:cubicBezTo>
                    <a:cubicBezTo>
                      <a:pt x="582" y="217"/>
                      <a:pt x="582" y="220"/>
                      <a:pt x="582" y="223"/>
                    </a:cubicBezTo>
                    <a:cubicBezTo>
                      <a:pt x="582" y="377"/>
                      <a:pt x="582" y="531"/>
                      <a:pt x="582" y="685"/>
                    </a:cubicBezTo>
                    <a:cubicBezTo>
                      <a:pt x="582" y="692"/>
                      <a:pt x="584" y="696"/>
                      <a:pt x="588" y="700"/>
                    </a:cubicBezTo>
                    <a:cubicBezTo>
                      <a:pt x="593" y="704"/>
                      <a:pt x="597" y="709"/>
                      <a:pt x="604" y="715"/>
                    </a:cubicBezTo>
                    <a:cubicBezTo>
                      <a:pt x="604" y="710"/>
                      <a:pt x="604" y="706"/>
                      <a:pt x="604" y="703"/>
                    </a:cubicBezTo>
                    <a:cubicBezTo>
                      <a:pt x="604" y="636"/>
                      <a:pt x="604" y="569"/>
                      <a:pt x="604" y="501"/>
                    </a:cubicBezTo>
                    <a:cubicBezTo>
                      <a:pt x="604" y="492"/>
                      <a:pt x="606" y="486"/>
                      <a:pt x="613" y="479"/>
                    </a:cubicBezTo>
                    <a:cubicBezTo>
                      <a:pt x="627" y="466"/>
                      <a:pt x="641" y="452"/>
                      <a:pt x="654" y="438"/>
                    </a:cubicBezTo>
                    <a:cubicBezTo>
                      <a:pt x="657" y="436"/>
                      <a:pt x="659" y="434"/>
                      <a:pt x="661" y="431"/>
                    </a:cubicBezTo>
                    <a:cubicBezTo>
                      <a:pt x="646" y="400"/>
                      <a:pt x="649" y="376"/>
                      <a:pt x="671" y="360"/>
                    </a:cubicBezTo>
                    <a:cubicBezTo>
                      <a:pt x="690" y="346"/>
                      <a:pt x="717" y="347"/>
                      <a:pt x="735" y="363"/>
                    </a:cubicBezTo>
                    <a:cubicBezTo>
                      <a:pt x="753" y="379"/>
                      <a:pt x="756" y="405"/>
                      <a:pt x="744" y="426"/>
                    </a:cubicBezTo>
                    <a:cubicBezTo>
                      <a:pt x="730" y="449"/>
                      <a:pt x="706" y="455"/>
                      <a:pt x="676" y="444"/>
                    </a:cubicBezTo>
                    <a:cubicBezTo>
                      <a:pt x="675" y="445"/>
                      <a:pt x="673" y="447"/>
                      <a:pt x="671" y="448"/>
                    </a:cubicBezTo>
                    <a:cubicBezTo>
                      <a:pt x="657" y="463"/>
                      <a:pt x="642" y="477"/>
                      <a:pt x="628" y="492"/>
                    </a:cubicBezTo>
                    <a:cubicBezTo>
                      <a:pt x="624" y="495"/>
                      <a:pt x="623" y="498"/>
                      <a:pt x="623" y="503"/>
                    </a:cubicBezTo>
                    <a:cubicBezTo>
                      <a:pt x="623" y="578"/>
                      <a:pt x="623" y="653"/>
                      <a:pt x="623" y="728"/>
                    </a:cubicBezTo>
                    <a:cubicBezTo>
                      <a:pt x="623" y="732"/>
                      <a:pt x="624" y="736"/>
                      <a:pt x="627" y="739"/>
                    </a:cubicBezTo>
                    <a:cubicBezTo>
                      <a:pt x="669" y="781"/>
                      <a:pt x="711" y="823"/>
                      <a:pt x="753" y="864"/>
                    </a:cubicBezTo>
                    <a:cubicBezTo>
                      <a:pt x="754" y="865"/>
                      <a:pt x="755" y="866"/>
                      <a:pt x="757" y="868"/>
                    </a:cubicBezTo>
                    <a:cubicBezTo>
                      <a:pt x="757" y="803"/>
                      <a:pt x="757" y="740"/>
                      <a:pt x="757" y="676"/>
                    </a:cubicBezTo>
                    <a:cubicBezTo>
                      <a:pt x="735" y="669"/>
                      <a:pt x="718" y="656"/>
                      <a:pt x="708" y="635"/>
                    </a:cubicBezTo>
                    <a:cubicBezTo>
                      <a:pt x="701" y="620"/>
                      <a:pt x="699" y="604"/>
                      <a:pt x="703" y="587"/>
                    </a:cubicBezTo>
                    <a:cubicBezTo>
                      <a:pt x="711" y="555"/>
                      <a:pt x="740" y="532"/>
                      <a:pt x="774" y="531"/>
                    </a:cubicBezTo>
                    <a:cubicBezTo>
                      <a:pt x="807" y="531"/>
                      <a:pt x="837" y="554"/>
                      <a:pt x="845" y="587"/>
                    </a:cubicBezTo>
                    <a:cubicBezTo>
                      <a:pt x="850" y="606"/>
                      <a:pt x="847" y="624"/>
                      <a:pt x="838" y="641"/>
                    </a:cubicBezTo>
                    <a:cubicBezTo>
                      <a:pt x="828" y="657"/>
                      <a:pt x="814" y="668"/>
                      <a:pt x="796" y="674"/>
                    </a:cubicBezTo>
                    <a:cubicBezTo>
                      <a:pt x="796" y="678"/>
                      <a:pt x="795" y="681"/>
                      <a:pt x="795" y="684"/>
                    </a:cubicBezTo>
                    <a:cubicBezTo>
                      <a:pt x="795" y="784"/>
                      <a:pt x="795" y="883"/>
                      <a:pt x="795" y="983"/>
                    </a:cubicBezTo>
                    <a:cubicBezTo>
                      <a:pt x="795" y="989"/>
                      <a:pt x="797" y="993"/>
                      <a:pt x="801" y="998"/>
                    </a:cubicBezTo>
                    <a:cubicBezTo>
                      <a:pt x="831" y="1027"/>
                      <a:pt x="861" y="1057"/>
                      <a:pt x="890" y="1087"/>
                    </a:cubicBezTo>
                    <a:cubicBezTo>
                      <a:pt x="892" y="1089"/>
                      <a:pt x="895" y="1091"/>
                      <a:pt x="897" y="1093"/>
                    </a:cubicBezTo>
                    <a:cubicBezTo>
                      <a:pt x="899" y="1086"/>
                      <a:pt x="900" y="947"/>
                      <a:pt x="898" y="922"/>
                    </a:cubicBezTo>
                    <a:cubicBezTo>
                      <a:pt x="882" y="917"/>
                      <a:pt x="869" y="908"/>
                      <a:pt x="862" y="892"/>
                    </a:cubicBezTo>
                    <a:cubicBezTo>
                      <a:pt x="858" y="882"/>
                      <a:pt x="857" y="871"/>
                      <a:pt x="860" y="859"/>
                    </a:cubicBezTo>
                    <a:cubicBezTo>
                      <a:pt x="866" y="836"/>
                      <a:pt x="887" y="821"/>
                      <a:pt x="911" y="822"/>
                    </a:cubicBezTo>
                    <a:cubicBezTo>
                      <a:pt x="934" y="823"/>
                      <a:pt x="954" y="840"/>
                      <a:pt x="958" y="863"/>
                    </a:cubicBezTo>
                    <a:cubicBezTo>
                      <a:pt x="963" y="889"/>
                      <a:pt x="950" y="908"/>
                      <a:pt x="918" y="923"/>
                    </a:cubicBezTo>
                    <a:cubicBezTo>
                      <a:pt x="918" y="926"/>
                      <a:pt x="918" y="929"/>
                      <a:pt x="918" y="933"/>
                    </a:cubicBezTo>
                    <a:cubicBezTo>
                      <a:pt x="918" y="988"/>
                      <a:pt x="918" y="1043"/>
                      <a:pt x="918" y="1098"/>
                    </a:cubicBezTo>
                    <a:cubicBezTo>
                      <a:pt x="918" y="1102"/>
                      <a:pt x="917" y="1107"/>
                      <a:pt x="917" y="1112"/>
                    </a:cubicBezTo>
                    <a:cubicBezTo>
                      <a:pt x="933" y="1128"/>
                      <a:pt x="950" y="1144"/>
                      <a:pt x="966" y="1161"/>
                    </a:cubicBezTo>
                    <a:cubicBezTo>
                      <a:pt x="967" y="1159"/>
                      <a:pt x="967" y="1157"/>
                      <a:pt x="967" y="1154"/>
                    </a:cubicBezTo>
                    <a:cubicBezTo>
                      <a:pt x="967" y="1149"/>
                      <a:pt x="968" y="1145"/>
                      <a:pt x="967" y="1140"/>
                    </a:cubicBezTo>
                    <a:cubicBezTo>
                      <a:pt x="966" y="1127"/>
                      <a:pt x="971" y="1117"/>
                      <a:pt x="980" y="1107"/>
                    </a:cubicBezTo>
                    <a:cubicBezTo>
                      <a:pt x="1016" y="1073"/>
                      <a:pt x="1050" y="1037"/>
                      <a:pt x="1086" y="1002"/>
                    </a:cubicBezTo>
                    <a:cubicBezTo>
                      <a:pt x="1091" y="998"/>
                      <a:pt x="1093" y="993"/>
                      <a:pt x="1093" y="986"/>
                    </a:cubicBezTo>
                    <a:cubicBezTo>
                      <a:pt x="1092" y="942"/>
                      <a:pt x="1092" y="899"/>
                      <a:pt x="1093" y="855"/>
                    </a:cubicBezTo>
                    <a:cubicBezTo>
                      <a:pt x="1093" y="848"/>
                      <a:pt x="1091" y="844"/>
                      <a:pt x="1086" y="839"/>
                    </a:cubicBezTo>
                    <a:cubicBezTo>
                      <a:pt x="1051" y="805"/>
                      <a:pt x="1017" y="770"/>
                      <a:pt x="983" y="736"/>
                    </a:cubicBezTo>
                    <a:cubicBezTo>
                      <a:pt x="976" y="730"/>
                      <a:pt x="973" y="723"/>
                      <a:pt x="973" y="713"/>
                    </a:cubicBezTo>
                    <a:cubicBezTo>
                      <a:pt x="973" y="659"/>
                      <a:pt x="973" y="604"/>
                      <a:pt x="973" y="549"/>
                    </a:cubicBezTo>
                    <a:cubicBezTo>
                      <a:pt x="973" y="541"/>
                      <a:pt x="971" y="535"/>
                      <a:pt x="965" y="529"/>
                    </a:cubicBezTo>
                    <a:cubicBezTo>
                      <a:pt x="907" y="472"/>
                      <a:pt x="849" y="414"/>
                      <a:pt x="792" y="357"/>
                    </a:cubicBezTo>
                    <a:cubicBezTo>
                      <a:pt x="784" y="349"/>
                      <a:pt x="781" y="342"/>
                      <a:pt x="781" y="331"/>
                    </a:cubicBezTo>
                    <a:cubicBezTo>
                      <a:pt x="782" y="277"/>
                      <a:pt x="781" y="222"/>
                      <a:pt x="781" y="168"/>
                    </a:cubicBezTo>
                    <a:cubicBezTo>
                      <a:pt x="781" y="164"/>
                      <a:pt x="781" y="161"/>
                      <a:pt x="781" y="157"/>
                    </a:cubicBezTo>
                    <a:cubicBezTo>
                      <a:pt x="761" y="150"/>
                      <a:pt x="745" y="137"/>
                      <a:pt x="738" y="116"/>
                    </a:cubicBezTo>
                    <a:cubicBezTo>
                      <a:pt x="733" y="102"/>
                      <a:pt x="733" y="88"/>
                      <a:pt x="738" y="73"/>
                    </a:cubicBezTo>
                    <a:cubicBezTo>
                      <a:pt x="747" y="45"/>
                      <a:pt x="775" y="28"/>
                      <a:pt x="805" y="31"/>
                    </a:cubicBezTo>
                    <a:cubicBezTo>
                      <a:pt x="833" y="34"/>
                      <a:pt x="857" y="57"/>
                      <a:pt x="861" y="85"/>
                    </a:cubicBezTo>
                    <a:cubicBezTo>
                      <a:pt x="865" y="119"/>
                      <a:pt x="848" y="143"/>
                      <a:pt x="810" y="158"/>
                    </a:cubicBezTo>
                    <a:cubicBezTo>
                      <a:pt x="810" y="160"/>
                      <a:pt x="810" y="163"/>
                      <a:pt x="810" y="166"/>
                    </a:cubicBezTo>
                    <a:cubicBezTo>
                      <a:pt x="810" y="219"/>
                      <a:pt x="810" y="273"/>
                      <a:pt x="809" y="326"/>
                    </a:cubicBezTo>
                    <a:cubicBezTo>
                      <a:pt x="809" y="332"/>
                      <a:pt x="811" y="336"/>
                      <a:pt x="815" y="340"/>
                    </a:cubicBezTo>
                    <a:cubicBezTo>
                      <a:pt x="865" y="390"/>
                      <a:pt x="915" y="440"/>
                      <a:pt x="966" y="490"/>
                    </a:cubicBezTo>
                    <a:cubicBezTo>
                      <a:pt x="967" y="492"/>
                      <a:pt x="969" y="494"/>
                      <a:pt x="971" y="496"/>
                    </a:cubicBezTo>
                    <a:cubicBezTo>
                      <a:pt x="974" y="488"/>
                      <a:pt x="975" y="334"/>
                      <a:pt x="973" y="310"/>
                    </a:cubicBezTo>
                    <a:cubicBezTo>
                      <a:pt x="944" y="303"/>
                      <a:pt x="922" y="287"/>
                      <a:pt x="909" y="260"/>
                    </a:cubicBezTo>
                    <a:cubicBezTo>
                      <a:pt x="901" y="242"/>
                      <a:pt x="899" y="223"/>
                      <a:pt x="904" y="203"/>
                    </a:cubicBezTo>
                    <a:cubicBezTo>
                      <a:pt x="913" y="164"/>
                      <a:pt x="949" y="136"/>
                      <a:pt x="990" y="137"/>
                    </a:cubicBezTo>
                    <a:cubicBezTo>
                      <a:pt x="1030" y="138"/>
                      <a:pt x="1065" y="167"/>
                      <a:pt x="1073" y="207"/>
                    </a:cubicBezTo>
                    <a:cubicBezTo>
                      <a:pt x="1080" y="240"/>
                      <a:pt x="1067" y="288"/>
                      <a:pt x="1011" y="308"/>
                    </a:cubicBezTo>
                    <a:cubicBezTo>
                      <a:pt x="1011" y="311"/>
                      <a:pt x="1011" y="313"/>
                      <a:pt x="1011" y="316"/>
                    </a:cubicBezTo>
                    <a:cubicBezTo>
                      <a:pt x="1010" y="445"/>
                      <a:pt x="1011" y="574"/>
                      <a:pt x="1010" y="703"/>
                    </a:cubicBezTo>
                    <a:cubicBezTo>
                      <a:pt x="1010" y="708"/>
                      <a:pt x="1011" y="711"/>
                      <a:pt x="1015" y="715"/>
                    </a:cubicBezTo>
                    <a:cubicBezTo>
                      <a:pt x="1039" y="739"/>
                      <a:pt x="1063" y="764"/>
                      <a:pt x="1088" y="788"/>
                    </a:cubicBezTo>
                    <a:cubicBezTo>
                      <a:pt x="1089" y="789"/>
                      <a:pt x="1090" y="790"/>
                      <a:pt x="1093" y="792"/>
                    </a:cubicBezTo>
                    <a:cubicBezTo>
                      <a:pt x="1093" y="787"/>
                      <a:pt x="1093" y="784"/>
                      <a:pt x="1093" y="780"/>
                    </a:cubicBezTo>
                    <a:cubicBezTo>
                      <a:pt x="1093" y="700"/>
                      <a:pt x="1093" y="619"/>
                      <a:pt x="1092" y="538"/>
                    </a:cubicBezTo>
                    <a:cubicBezTo>
                      <a:pt x="1092" y="525"/>
                      <a:pt x="1097" y="515"/>
                      <a:pt x="1106" y="505"/>
                    </a:cubicBezTo>
                    <a:cubicBezTo>
                      <a:pt x="1153" y="459"/>
                      <a:pt x="1199" y="412"/>
                      <a:pt x="1246" y="366"/>
                    </a:cubicBezTo>
                    <a:cubicBezTo>
                      <a:pt x="1251" y="361"/>
                      <a:pt x="1253" y="356"/>
                      <a:pt x="1253" y="350"/>
                    </a:cubicBezTo>
                    <a:cubicBezTo>
                      <a:pt x="1253" y="309"/>
                      <a:pt x="1253" y="268"/>
                      <a:pt x="1253" y="228"/>
                    </a:cubicBezTo>
                    <a:cubicBezTo>
                      <a:pt x="1253" y="225"/>
                      <a:pt x="1253" y="221"/>
                      <a:pt x="1253" y="218"/>
                    </a:cubicBezTo>
                    <a:cubicBezTo>
                      <a:pt x="1219" y="209"/>
                      <a:pt x="1193" y="190"/>
                      <a:pt x="1177" y="158"/>
                    </a:cubicBezTo>
                    <a:cubicBezTo>
                      <a:pt x="1166" y="136"/>
                      <a:pt x="1163" y="112"/>
                      <a:pt x="1168" y="87"/>
                    </a:cubicBezTo>
                    <a:cubicBezTo>
                      <a:pt x="1179" y="37"/>
                      <a:pt x="1223" y="1"/>
                      <a:pt x="1273" y="1"/>
                    </a:cubicBezTo>
                    <a:cubicBezTo>
                      <a:pt x="1325" y="0"/>
                      <a:pt x="1370" y="34"/>
                      <a:pt x="1382" y="84"/>
                    </a:cubicBezTo>
                    <a:cubicBezTo>
                      <a:pt x="1393" y="126"/>
                      <a:pt x="1378" y="188"/>
                      <a:pt x="1309" y="215"/>
                    </a:cubicBezTo>
                    <a:cubicBezTo>
                      <a:pt x="1309" y="218"/>
                      <a:pt x="1309" y="222"/>
                      <a:pt x="1309" y="225"/>
                    </a:cubicBezTo>
                    <a:cubicBezTo>
                      <a:pt x="1309" y="272"/>
                      <a:pt x="1309" y="318"/>
                      <a:pt x="1309" y="365"/>
                    </a:cubicBezTo>
                    <a:cubicBezTo>
                      <a:pt x="1309" y="377"/>
                      <a:pt x="1306" y="386"/>
                      <a:pt x="1297" y="394"/>
                    </a:cubicBezTo>
                    <a:cubicBezTo>
                      <a:pt x="1250" y="442"/>
                      <a:pt x="1202" y="489"/>
                      <a:pt x="1155" y="536"/>
                    </a:cubicBezTo>
                    <a:cubicBezTo>
                      <a:pt x="1150" y="541"/>
                      <a:pt x="1148" y="545"/>
                      <a:pt x="1148" y="552"/>
                    </a:cubicBezTo>
                    <a:cubicBezTo>
                      <a:pt x="1149" y="702"/>
                      <a:pt x="1148" y="852"/>
                      <a:pt x="1149" y="1001"/>
                    </a:cubicBezTo>
                    <a:cubicBezTo>
                      <a:pt x="1149" y="1014"/>
                      <a:pt x="1145" y="1023"/>
                      <a:pt x="1136" y="1032"/>
                    </a:cubicBezTo>
                    <a:cubicBezTo>
                      <a:pt x="1100" y="1067"/>
                      <a:pt x="1065" y="1103"/>
                      <a:pt x="1029" y="1138"/>
                    </a:cubicBezTo>
                    <a:cubicBezTo>
                      <a:pt x="1025" y="1142"/>
                      <a:pt x="1023" y="1146"/>
                      <a:pt x="1023" y="1152"/>
                    </a:cubicBezTo>
                    <a:cubicBezTo>
                      <a:pt x="1023" y="1280"/>
                      <a:pt x="1023" y="1407"/>
                      <a:pt x="1023" y="1534"/>
                    </a:cubicBezTo>
                    <a:cubicBezTo>
                      <a:pt x="1023" y="1536"/>
                      <a:pt x="1024" y="1539"/>
                      <a:pt x="1024" y="1542"/>
                    </a:cubicBezTo>
                    <a:cubicBezTo>
                      <a:pt x="1026" y="1540"/>
                      <a:pt x="1028" y="1539"/>
                      <a:pt x="1030" y="1538"/>
                    </a:cubicBezTo>
                    <a:cubicBezTo>
                      <a:pt x="1047" y="1520"/>
                      <a:pt x="1065" y="1503"/>
                      <a:pt x="1083" y="1485"/>
                    </a:cubicBezTo>
                    <a:cubicBezTo>
                      <a:pt x="1085" y="1482"/>
                      <a:pt x="1088" y="1480"/>
                      <a:pt x="1088" y="1475"/>
                    </a:cubicBezTo>
                    <a:cubicBezTo>
                      <a:pt x="1087" y="1447"/>
                      <a:pt x="1087" y="1420"/>
                      <a:pt x="1087" y="1392"/>
                    </a:cubicBezTo>
                    <a:cubicBezTo>
                      <a:pt x="1087" y="1390"/>
                      <a:pt x="1087" y="1389"/>
                      <a:pt x="1087" y="1388"/>
                    </a:cubicBezTo>
                    <a:cubicBezTo>
                      <a:pt x="1057" y="1376"/>
                      <a:pt x="1043" y="1355"/>
                      <a:pt x="1048" y="1330"/>
                    </a:cubicBezTo>
                    <a:cubicBezTo>
                      <a:pt x="1052" y="1305"/>
                      <a:pt x="1072" y="1289"/>
                      <a:pt x="1097" y="1288"/>
                    </a:cubicBezTo>
                    <a:cubicBezTo>
                      <a:pt x="1121" y="1288"/>
                      <a:pt x="1142" y="1305"/>
                      <a:pt x="1146" y="1328"/>
                    </a:cubicBezTo>
                    <a:cubicBezTo>
                      <a:pt x="1151" y="1355"/>
                      <a:pt x="1138" y="1376"/>
                      <a:pt x="1106" y="1388"/>
                    </a:cubicBezTo>
                    <a:cubicBezTo>
                      <a:pt x="1106" y="1392"/>
                      <a:pt x="1106" y="1395"/>
                      <a:pt x="1106" y="1398"/>
                    </a:cubicBezTo>
                    <a:cubicBezTo>
                      <a:pt x="1106" y="1425"/>
                      <a:pt x="1106" y="1452"/>
                      <a:pt x="1106" y="1478"/>
                    </a:cubicBezTo>
                    <a:cubicBezTo>
                      <a:pt x="1107" y="1485"/>
                      <a:pt x="1105" y="1490"/>
                      <a:pt x="1100" y="1495"/>
                    </a:cubicBezTo>
                    <a:cubicBezTo>
                      <a:pt x="1076" y="1518"/>
                      <a:pt x="1053" y="1542"/>
                      <a:pt x="1029" y="1565"/>
                    </a:cubicBezTo>
                    <a:cubicBezTo>
                      <a:pt x="1025" y="1569"/>
                      <a:pt x="1023" y="1574"/>
                      <a:pt x="1023" y="1580"/>
                    </a:cubicBezTo>
                    <a:cubicBezTo>
                      <a:pt x="1024" y="1589"/>
                      <a:pt x="1023" y="1599"/>
                      <a:pt x="1023" y="1610"/>
                    </a:cubicBezTo>
                    <a:cubicBezTo>
                      <a:pt x="1027" y="1607"/>
                      <a:pt x="1029" y="1606"/>
                      <a:pt x="1030" y="1604"/>
                    </a:cubicBezTo>
                    <a:cubicBezTo>
                      <a:pt x="1072" y="1563"/>
                      <a:pt x="1113" y="1521"/>
                      <a:pt x="1155" y="1480"/>
                    </a:cubicBezTo>
                    <a:cubicBezTo>
                      <a:pt x="1158" y="1476"/>
                      <a:pt x="1160" y="1473"/>
                      <a:pt x="1160" y="1468"/>
                    </a:cubicBezTo>
                    <a:cubicBezTo>
                      <a:pt x="1160" y="1414"/>
                      <a:pt x="1160" y="1361"/>
                      <a:pt x="1160" y="1308"/>
                    </a:cubicBezTo>
                    <a:cubicBezTo>
                      <a:pt x="1160" y="1306"/>
                      <a:pt x="1160" y="1304"/>
                      <a:pt x="1160" y="1302"/>
                    </a:cubicBezTo>
                    <a:cubicBezTo>
                      <a:pt x="1128" y="1288"/>
                      <a:pt x="1115" y="1268"/>
                      <a:pt x="1121" y="1241"/>
                    </a:cubicBezTo>
                    <a:cubicBezTo>
                      <a:pt x="1126" y="1217"/>
                      <a:pt x="1147" y="1201"/>
                      <a:pt x="1172" y="1202"/>
                    </a:cubicBezTo>
                    <a:cubicBezTo>
                      <a:pt x="1195" y="1203"/>
                      <a:pt x="1216" y="1220"/>
                      <a:pt x="1219" y="1243"/>
                    </a:cubicBezTo>
                    <a:cubicBezTo>
                      <a:pt x="1224" y="1270"/>
                      <a:pt x="1210" y="1291"/>
                      <a:pt x="1179" y="1302"/>
                    </a:cubicBezTo>
                    <a:cubicBezTo>
                      <a:pt x="1179" y="1305"/>
                      <a:pt x="1179" y="1309"/>
                      <a:pt x="1179" y="1313"/>
                    </a:cubicBezTo>
                    <a:cubicBezTo>
                      <a:pt x="1179" y="1366"/>
                      <a:pt x="1179" y="1419"/>
                      <a:pt x="1179" y="1472"/>
                    </a:cubicBezTo>
                    <a:cubicBezTo>
                      <a:pt x="1179" y="1479"/>
                      <a:pt x="1177" y="1485"/>
                      <a:pt x="1172" y="1490"/>
                    </a:cubicBezTo>
                    <a:cubicBezTo>
                      <a:pt x="1124" y="1537"/>
                      <a:pt x="1077" y="1584"/>
                      <a:pt x="1030" y="1632"/>
                    </a:cubicBezTo>
                    <a:cubicBezTo>
                      <a:pt x="1026" y="1636"/>
                      <a:pt x="1023" y="1640"/>
                      <a:pt x="1023" y="1647"/>
                    </a:cubicBezTo>
                    <a:cubicBezTo>
                      <a:pt x="1023" y="1768"/>
                      <a:pt x="1023" y="1890"/>
                      <a:pt x="1023" y="2012"/>
                    </a:cubicBezTo>
                    <a:cubicBezTo>
                      <a:pt x="1023" y="2015"/>
                      <a:pt x="1023" y="2017"/>
                      <a:pt x="1023" y="2022"/>
                    </a:cubicBezTo>
                    <a:cubicBezTo>
                      <a:pt x="1026" y="2019"/>
                      <a:pt x="1028" y="2018"/>
                      <a:pt x="1030" y="2016"/>
                    </a:cubicBezTo>
                    <a:cubicBezTo>
                      <a:pt x="1059" y="1987"/>
                      <a:pt x="1088" y="1958"/>
                      <a:pt x="1117" y="1930"/>
                    </a:cubicBezTo>
                    <a:cubicBezTo>
                      <a:pt x="1120" y="1927"/>
                      <a:pt x="1122" y="1924"/>
                      <a:pt x="1122" y="1919"/>
                    </a:cubicBezTo>
                    <a:cubicBezTo>
                      <a:pt x="1122" y="1882"/>
                      <a:pt x="1122" y="1845"/>
                      <a:pt x="1122" y="1808"/>
                    </a:cubicBezTo>
                    <a:cubicBezTo>
                      <a:pt x="1122" y="1806"/>
                      <a:pt x="1122" y="1804"/>
                      <a:pt x="1121" y="1803"/>
                    </a:cubicBezTo>
                    <a:cubicBezTo>
                      <a:pt x="1057" y="1784"/>
                      <a:pt x="1043" y="1722"/>
                      <a:pt x="1062" y="1682"/>
                    </a:cubicBezTo>
                    <a:cubicBezTo>
                      <a:pt x="1082" y="1640"/>
                      <a:pt x="1137" y="1614"/>
                      <a:pt x="1189" y="1646"/>
                    </a:cubicBezTo>
                    <a:cubicBezTo>
                      <a:pt x="1191" y="1644"/>
                      <a:pt x="1193" y="1643"/>
                      <a:pt x="1195" y="1641"/>
                    </a:cubicBezTo>
                    <a:cubicBezTo>
                      <a:pt x="1267" y="1569"/>
                      <a:pt x="1339" y="1497"/>
                      <a:pt x="1412" y="1425"/>
                    </a:cubicBezTo>
                    <a:cubicBezTo>
                      <a:pt x="1417" y="1419"/>
                      <a:pt x="1418" y="1413"/>
                      <a:pt x="1417" y="1406"/>
                    </a:cubicBezTo>
                    <a:cubicBezTo>
                      <a:pt x="1376" y="1393"/>
                      <a:pt x="1352" y="1366"/>
                      <a:pt x="1351" y="1323"/>
                    </a:cubicBezTo>
                    <a:cubicBezTo>
                      <a:pt x="1351" y="1278"/>
                      <a:pt x="1376" y="1250"/>
                      <a:pt x="1418" y="1237"/>
                    </a:cubicBezTo>
                    <a:cubicBezTo>
                      <a:pt x="1418" y="1217"/>
                      <a:pt x="1418" y="1198"/>
                      <a:pt x="1418" y="1179"/>
                    </a:cubicBezTo>
                    <a:cubicBezTo>
                      <a:pt x="1418" y="1156"/>
                      <a:pt x="1417" y="1134"/>
                      <a:pt x="1417" y="1112"/>
                    </a:cubicBezTo>
                    <a:cubicBezTo>
                      <a:pt x="1417" y="1105"/>
                      <a:pt x="1415" y="1101"/>
                      <a:pt x="1411" y="1097"/>
                    </a:cubicBezTo>
                    <a:cubicBezTo>
                      <a:pt x="1366" y="1052"/>
                      <a:pt x="1322" y="1008"/>
                      <a:pt x="1278" y="964"/>
                    </a:cubicBezTo>
                    <a:cubicBezTo>
                      <a:pt x="1271" y="958"/>
                      <a:pt x="1269" y="951"/>
                      <a:pt x="1269" y="943"/>
                    </a:cubicBezTo>
                    <a:cubicBezTo>
                      <a:pt x="1269" y="880"/>
                      <a:pt x="1269" y="817"/>
                      <a:pt x="1269" y="754"/>
                    </a:cubicBezTo>
                    <a:cubicBezTo>
                      <a:pt x="1269" y="751"/>
                      <a:pt x="1269" y="747"/>
                      <a:pt x="1269" y="743"/>
                    </a:cubicBezTo>
                    <a:cubicBezTo>
                      <a:pt x="1254" y="738"/>
                      <a:pt x="1241" y="729"/>
                      <a:pt x="1234" y="715"/>
                    </a:cubicBezTo>
                    <a:cubicBezTo>
                      <a:pt x="1229" y="703"/>
                      <a:pt x="1228" y="692"/>
                      <a:pt x="1231" y="680"/>
                    </a:cubicBezTo>
                    <a:cubicBezTo>
                      <a:pt x="1237" y="657"/>
                      <a:pt x="1259" y="642"/>
                      <a:pt x="1283" y="643"/>
                    </a:cubicBezTo>
                    <a:cubicBezTo>
                      <a:pt x="1307" y="645"/>
                      <a:pt x="1326" y="663"/>
                      <a:pt x="1329" y="686"/>
                    </a:cubicBezTo>
                    <a:cubicBezTo>
                      <a:pt x="1332" y="707"/>
                      <a:pt x="1321" y="734"/>
                      <a:pt x="1289" y="743"/>
                    </a:cubicBezTo>
                    <a:cubicBezTo>
                      <a:pt x="1289" y="762"/>
                      <a:pt x="1289" y="782"/>
                      <a:pt x="1289" y="803"/>
                    </a:cubicBezTo>
                    <a:cubicBezTo>
                      <a:pt x="1291" y="801"/>
                      <a:pt x="1293" y="800"/>
                      <a:pt x="1294" y="799"/>
                    </a:cubicBezTo>
                    <a:cubicBezTo>
                      <a:pt x="1341" y="752"/>
                      <a:pt x="1389" y="704"/>
                      <a:pt x="1436" y="657"/>
                    </a:cubicBezTo>
                    <a:cubicBezTo>
                      <a:pt x="1440" y="653"/>
                      <a:pt x="1441" y="650"/>
                      <a:pt x="1441" y="644"/>
                    </a:cubicBezTo>
                    <a:cubicBezTo>
                      <a:pt x="1441" y="614"/>
                      <a:pt x="1441" y="584"/>
                      <a:pt x="1441" y="554"/>
                    </a:cubicBezTo>
                    <a:cubicBezTo>
                      <a:pt x="1441" y="550"/>
                      <a:pt x="1440" y="546"/>
                      <a:pt x="1437" y="542"/>
                    </a:cubicBezTo>
                    <a:cubicBezTo>
                      <a:pt x="1423" y="528"/>
                      <a:pt x="1409" y="514"/>
                      <a:pt x="1395" y="500"/>
                    </a:cubicBezTo>
                    <a:cubicBezTo>
                      <a:pt x="1394" y="499"/>
                      <a:pt x="1393" y="499"/>
                      <a:pt x="1391" y="497"/>
                    </a:cubicBezTo>
                    <a:cubicBezTo>
                      <a:pt x="1378" y="507"/>
                      <a:pt x="1363" y="512"/>
                      <a:pt x="1347" y="507"/>
                    </a:cubicBezTo>
                    <a:cubicBezTo>
                      <a:pt x="1336" y="504"/>
                      <a:pt x="1327" y="498"/>
                      <a:pt x="1319" y="489"/>
                    </a:cubicBezTo>
                    <a:cubicBezTo>
                      <a:pt x="1305" y="470"/>
                      <a:pt x="1306" y="444"/>
                      <a:pt x="1322" y="426"/>
                    </a:cubicBezTo>
                    <a:cubicBezTo>
                      <a:pt x="1337" y="408"/>
                      <a:pt x="1364" y="403"/>
                      <a:pt x="1384" y="415"/>
                    </a:cubicBezTo>
                    <a:cubicBezTo>
                      <a:pt x="1407" y="429"/>
                      <a:pt x="1414" y="453"/>
                      <a:pt x="1404" y="482"/>
                    </a:cubicBezTo>
                    <a:cubicBezTo>
                      <a:pt x="1409" y="488"/>
                      <a:pt x="1415" y="493"/>
                      <a:pt x="1420" y="499"/>
                    </a:cubicBezTo>
                    <a:cubicBezTo>
                      <a:pt x="1432" y="510"/>
                      <a:pt x="1443" y="522"/>
                      <a:pt x="1454" y="533"/>
                    </a:cubicBezTo>
                    <a:cubicBezTo>
                      <a:pt x="1458" y="537"/>
                      <a:pt x="1460" y="541"/>
                      <a:pt x="1460" y="546"/>
                    </a:cubicBezTo>
                    <a:cubicBezTo>
                      <a:pt x="1460" y="582"/>
                      <a:pt x="1460" y="617"/>
                      <a:pt x="1460" y="652"/>
                    </a:cubicBezTo>
                    <a:cubicBezTo>
                      <a:pt x="1460" y="658"/>
                      <a:pt x="1457" y="663"/>
                      <a:pt x="1453" y="667"/>
                    </a:cubicBezTo>
                    <a:cubicBezTo>
                      <a:pt x="1400" y="719"/>
                      <a:pt x="1348" y="772"/>
                      <a:pt x="1295" y="824"/>
                    </a:cubicBezTo>
                    <a:cubicBezTo>
                      <a:pt x="1290" y="829"/>
                      <a:pt x="1288" y="835"/>
                      <a:pt x="1288" y="842"/>
                    </a:cubicBezTo>
                    <a:cubicBezTo>
                      <a:pt x="1289" y="848"/>
                      <a:pt x="1288" y="855"/>
                      <a:pt x="1288" y="862"/>
                    </a:cubicBezTo>
                    <a:cubicBezTo>
                      <a:pt x="1291" y="860"/>
                      <a:pt x="1293" y="859"/>
                      <a:pt x="1294" y="858"/>
                    </a:cubicBezTo>
                    <a:cubicBezTo>
                      <a:pt x="1355" y="798"/>
                      <a:pt x="1415" y="737"/>
                      <a:pt x="1476" y="677"/>
                    </a:cubicBezTo>
                    <a:cubicBezTo>
                      <a:pt x="1479" y="674"/>
                      <a:pt x="1481" y="671"/>
                      <a:pt x="1481" y="666"/>
                    </a:cubicBezTo>
                    <a:cubicBezTo>
                      <a:pt x="1480" y="592"/>
                      <a:pt x="1480" y="517"/>
                      <a:pt x="1480" y="442"/>
                    </a:cubicBezTo>
                    <a:cubicBezTo>
                      <a:pt x="1480" y="441"/>
                      <a:pt x="1480" y="439"/>
                      <a:pt x="1480" y="438"/>
                    </a:cubicBezTo>
                    <a:cubicBezTo>
                      <a:pt x="1449" y="425"/>
                      <a:pt x="1435" y="404"/>
                      <a:pt x="1441" y="378"/>
                    </a:cubicBezTo>
                    <a:cubicBezTo>
                      <a:pt x="1446" y="354"/>
                      <a:pt x="1467" y="338"/>
                      <a:pt x="1491" y="338"/>
                    </a:cubicBezTo>
                    <a:cubicBezTo>
                      <a:pt x="1515" y="339"/>
                      <a:pt x="1536" y="356"/>
                      <a:pt x="1540" y="380"/>
                    </a:cubicBezTo>
                    <a:cubicBezTo>
                      <a:pt x="1544" y="406"/>
                      <a:pt x="1530" y="427"/>
                      <a:pt x="1499" y="438"/>
                    </a:cubicBezTo>
                    <a:cubicBezTo>
                      <a:pt x="1499" y="441"/>
                      <a:pt x="1499" y="445"/>
                      <a:pt x="1499" y="449"/>
                    </a:cubicBezTo>
                    <a:cubicBezTo>
                      <a:pt x="1499" y="519"/>
                      <a:pt x="1500" y="589"/>
                      <a:pt x="1499" y="659"/>
                    </a:cubicBezTo>
                    <a:cubicBezTo>
                      <a:pt x="1499" y="684"/>
                      <a:pt x="1503" y="676"/>
                      <a:pt x="1485" y="694"/>
                    </a:cubicBezTo>
                    <a:cubicBezTo>
                      <a:pt x="1422" y="757"/>
                      <a:pt x="1359" y="820"/>
                      <a:pt x="1296" y="883"/>
                    </a:cubicBezTo>
                    <a:cubicBezTo>
                      <a:pt x="1290" y="889"/>
                      <a:pt x="1288" y="894"/>
                      <a:pt x="1288" y="902"/>
                    </a:cubicBezTo>
                    <a:cubicBezTo>
                      <a:pt x="1289" y="915"/>
                      <a:pt x="1288" y="928"/>
                      <a:pt x="1288" y="941"/>
                    </a:cubicBezTo>
                    <a:cubicBezTo>
                      <a:pt x="1288" y="945"/>
                      <a:pt x="1289" y="948"/>
                      <a:pt x="1292" y="951"/>
                    </a:cubicBezTo>
                    <a:cubicBezTo>
                      <a:pt x="1332" y="991"/>
                      <a:pt x="1372" y="1031"/>
                      <a:pt x="1412" y="1071"/>
                    </a:cubicBezTo>
                    <a:cubicBezTo>
                      <a:pt x="1413" y="1072"/>
                      <a:pt x="1414" y="1073"/>
                      <a:pt x="1416" y="1074"/>
                    </a:cubicBezTo>
                    <a:cubicBezTo>
                      <a:pt x="1416" y="1071"/>
                      <a:pt x="1417" y="1069"/>
                      <a:pt x="1417" y="1067"/>
                    </a:cubicBezTo>
                    <a:cubicBezTo>
                      <a:pt x="1417" y="1053"/>
                      <a:pt x="1416" y="1038"/>
                      <a:pt x="1417" y="1024"/>
                    </a:cubicBezTo>
                    <a:cubicBezTo>
                      <a:pt x="1417" y="1018"/>
                      <a:pt x="1415" y="1014"/>
                      <a:pt x="1411" y="1011"/>
                    </a:cubicBezTo>
                    <a:cubicBezTo>
                      <a:pt x="1392" y="992"/>
                      <a:pt x="1374" y="973"/>
                      <a:pt x="1355" y="955"/>
                    </a:cubicBezTo>
                    <a:cubicBezTo>
                      <a:pt x="1351" y="951"/>
                      <a:pt x="1348" y="946"/>
                      <a:pt x="1349" y="940"/>
                    </a:cubicBezTo>
                    <a:cubicBezTo>
                      <a:pt x="1349" y="919"/>
                      <a:pt x="1349" y="898"/>
                      <a:pt x="1348" y="877"/>
                    </a:cubicBezTo>
                    <a:cubicBezTo>
                      <a:pt x="1348" y="870"/>
                      <a:pt x="1351" y="866"/>
                      <a:pt x="1356" y="861"/>
                    </a:cubicBezTo>
                    <a:cubicBezTo>
                      <a:pt x="1407" y="810"/>
                      <a:pt x="1458" y="758"/>
                      <a:pt x="1510" y="708"/>
                    </a:cubicBezTo>
                    <a:cubicBezTo>
                      <a:pt x="1516" y="702"/>
                      <a:pt x="1518" y="696"/>
                      <a:pt x="1518" y="687"/>
                    </a:cubicBezTo>
                    <a:cubicBezTo>
                      <a:pt x="1518" y="639"/>
                      <a:pt x="1518" y="591"/>
                      <a:pt x="1518" y="543"/>
                    </a:cubicBezTo>
                    <a:cubicBezTo>
                      <a:pt x="1518" y="539"/>
                      <a:pt x="1519" y="534"/>
                      <a:pt x="1519" y="529"/>
                    </a:cubicBezTo>
                    <a:cubicBezTo>
                      <a:pt x="1519" y="526"/>
                      <a:pt x="1518" y="522"/>
                      <a:pt x="1516" y="519"/>
                    </a:cubicBezTo>
                    <a:cubicBezTo>
                      <a:pt x="1506" y="492"/>
                      <a:pt x="1521" y="462"/>
                      <a:pt x="1549" y="453"/>
                    </a:cubicBezTo>
                    <a:cubicBezTo>
                      <a:pt x="1570" y="447"/>
                      <a:pt x="1592" y="455"/>
                      <a:pt x="1605" y="473"/>
                    </a:cubicBezTo>
                    <a:cubicBezTo>
                      <a:pt x="1617" y="491"/>
                      <a:pt x="1616" y="515"/>
                      <a:pt x="1603" y="532"/>
                    </a:cubicBezTo>
                    <a:cubicBezTo>
                      <a:pt x="1590" y="549"/>
                      <a:pt x="1567" y="556"/>
                      <a:pt x="1547" y="549"/>
                    </a:cubicBezTo>
                    <a:cubicBezTo>
                      <a:pt x="1544" y="547"/>
                      <a:pt x="1541" y="546"/>
                      <a:pt x="1537" y="545"/>
                    </a:cubicBezTo>
                    <a:cubicBezTo>
                      <a:pt x="1537" y="549"/>
                      <a:pt x="1537" y="553"/>
                      <a:pt x="1537" y="556"/>
                    </a:cubicBezTo>
                    <a:cubicBezTo>
                      <a:pt x="1537" y="603"/>
                      <a:pt x="1536" y="650"/>
                      <a:pt x="1537" y="697"/>
                    </a:cubicBezTo>
                    <a:cubicBezTo>
                      <a:pt x="1537" y="704"/>
                      <a:pt x="1534" y="710"/>
                      <a:pt x="1529" y="715"/>
                    </a:cubicBezTo>
                    <a:cubicBezTo>
                      <a:pt x="1478" y="766"/>
                      <a:pt x="1426" y="818"/>
                      <a:pt x="1374" y="869"/>
                    </a:cubicBezTo>
                    <a:cubicBezTo>
                      <a:pt x="1369" y="874"/>
                      <a:pt x="1367" y="879"/>
                      <a:pt x="1367" y="886"/>
                    </a:cubicBezTo>
                    <a:cubicBezTo>
                      <a:pt x="1368" y="902"/>
                      <a:pt x="1368" y="918"/>
                      <a:pt x="1367" y="934"/>
                    </a:cubicBezTo>
                    <a:cubicBezTo>
                      <a:pt x="1367" y="939"/>
                      <a:pt x="1369" y="942"/>
                      <a:pt x="1372" y="945"/>
                    </a:cubicBezTo>
                    <a:cubicBezTo>
                      <a:pt x="1385" y="958"/>
                      <a:pt x="1398" y="971"/>
                      <a:pt x="1411" y="984"/>
                    </a:cubicBezTo>
                    <a:cubicBezTo>
                      <a:pt x="1412" y="985"/>
                      <a:pt x="1413" y="986"/>
                      <a:pt x="1415" y="987"/>
                    </a:cubicBezTo>
                    <a:cubicBezTo>
                      <a:pt x="1415" y="984"/>
                      <a:pt x="1416" y="982"/>
                      <a:pt x="1416" y="980"/>
                    </a:cubicBezTo>
                    <a:cubicBezTo>
                      <a:pt x="1416" y="970"/>
                      <a:pt x="1416" y="960"/>
                      <a:pt x="1415" y="950"/>
                    </a:cubicBezTo>
                    <a:cubicBezTo>
                      <a:pt x="1415" y="942"/>
                      <a:pt x="1418" y="936"/>
                      <a:pt x="1424" y="930"/>
                    </a:cubicBezTo>
                    <a:cubicBezTo>
                      <a:pt x="1438" y="916"/>
                      <a:pt x="1452" y="902"/>
                      <a:pt x="1466" y="887"/>
                    </a:cubicBezTo>
                    <a:cubicBezTo>
                      <a:pt x="1519" y="835"/>
                      <a:pt x="1571" y="782"/>
                      <a:pt x="1624" y="730"/>
                    </a:cubicBezTo>
                    <a:cubicBezTo>
                      <a:pt x="1629" y="725"/>
                      <a:pt x="1631" y="721"/>
                      <a:pt x="1631" y="714"/>
                    </a:cubicBezTo>
                    <a:cubicBezTo>
                      <a:pt x="1630" y="665"/>
                      <a:pt x="1631" y="616"/>
                      <a:pt x="1630" y="566"/>
                    </a:cubicBezTo>
                    <a:cubicBezTo>
                      <a:pt x="1630" y="556"/>
                      <a:pt x="1633" y="549"/>
                      <a:pt x="1641" y="542"/>
                    </a:cubicBezTo>
                    <a:cubicBezTo>
                      <a:pt x="1662" y="521"/>
                      <a:pt x="1683" y="499"/>
                      <a:pt x="1704" y="479"/>
                    </a:cubicBezTo>
                    <a:cubicBezTo>
                      <a:pt x="1709" y="474"/>
                      <a:pt x="1710" y="470"/>
                      <a:pt x="1709" y="464"/>
                    </a:cubicBezTo>
                    <a:cubicBezTo>
                      <a:pt x="1700" y="410"/>
                      <a:pt x="1742" y="362"/>
                      <a:pt x="1797" y="363"/>
                    </a:cubicBezTo>
                    <a:cubicBezTo>
                      <a:pt x="1839" y="364"/>
                      <a:pt x="1876" y="398"/>
                      <a:pt x="1880" y="439"/>
                    </a:cubicBezTo>
                    <a:cubicBezTo>
                      <a:pt x="1884" y="485"/>
                      <a:pt x="1856" y="525"/>
                      <a:pt x="1814" y="534"/>
                    </a:cubicBezTo>
                    <a:cubicBezTo>
                      <a:pt x="1784" y="541"/>
                      <a:pt x="1757" y="533"/>
                      <a:pt x="1734" y="513"/>
                    </a:cubicBezTo>
                    <a:cubicBezTo>
                      <a:pt x="1733" y="511"/>
                      <a:pt x="1731" y="510"/>
                      <a:pt x="1730" y="508"/>
                    </a:cubicBezTo>
                    <a:cubicBezTo>
                      <a:pt x="1729" y="508"/>
                      <a:pt x="1729" y="508"/>
                      <a:pt x="1728" y="508"/>
                    </a:cubicBezTo>
                    <a:cubicBezTo>
                      <a:pt x="1723" y="513"/>
                      <a:pt x="1717" y="519"/>
                      <a:pt x="1711" y="524"/>
                    </a:cubicBezTo>
                    <a:cubicBezTo>
                      <a:pt x="1699" y="537"/>
                      <a:pt x="1687" y="549"/>
                      <a:pt x="1675" y="561"/>
                    </a:cubicBezTo>
                    <a:cubicBezTo>
                      <a:pt x="1670" y="565"/>
                      <a:pt x="1668" y="570"/>
                      <a:pt x="1668" y="576"/>
                    </a:cubicBezTo>
                    <a:cubicBezTo>
                      <a:pt x="1668" y="626"/>
                      <a:pt x="1668" y="675"/>
                      <a:pt x="1669" y="725"/>
                    </a:cubicBezTo>
                    <a:cubicBezTo>
                      <a:pt x="1669" y="735"/>
                      <a:pt x="1666" y="742"/>
                      <a:pt x="1659" y="749"/>
                    </a:cubicBezTo>
                    <a:cubicBezTo>
                      <a:pt x="1593" y="814"/>
                      <a:pt x="1527" y="880"/>
                      <a:pt x="1462" y="945"/>
                    </a:cubicBezTo>
                    <a:cubicBezTo>
                      <a:pt x="1456" y="951"/>
                      <a:pt x="1453" y="957"/>
                      <a:pt x="1453" y="965"/>
                    </a:cubicBezTo>
                    <a:cubicBezTo>
                      <a:pt x="1454" y="1051"/>
                      <a:pt x="1455" y="1137"/>
                      <a:pt x="1456" y="1223"/>
                    </a:cubicBezTo>
                    <a:cubicBezTo>
                      <a:pt x="1456" y="1228"/>
                      <a:pt x="1456" y="1232"/>
                      <a:pt x="1456" y="1236"/>
                    </a:cubicBezTo>
                    <a:cubicBezTo>
                      <a:pt x="1500" y="1251"/>
                      <a:pt x="1525" y="1280"/>
                      <a:pt x="1524" y="1327"/>
                    </a:cubicBezTo>
                    <a:cubicBezTo>
                      <a:pt x="1522" y="1366"/>
                      <a:pt x="1499" y="1392"/>
                      <a:pt x="1455" y="1407"/>
                    </a:cubicBezTo>
                    <a:cubicBezTo>
                      <a:pt x="1455" y="1411"/>
                      <a:pt x="1455" y="1415"/>
                      <a:pt x="1455" y="1419"/>
                    </a:cubicBezTo>
                    <a:cubicBezTo>
                      <a:pt x="1456" y="1430"/>
                      <a:pt x="1452" y="1437"/>
                      <a:pt x="1445" y="1445"/>
                    </a:cubicBezTo>
                    <a:cubicBezTo>
                      <a:pt x="1371" y="1518"/>
                      <a:pt x="1298" y="1592"/>
                      <a:pt x="1224" y="1665"/>
                    </a:cubicBezTo>
                    <a:cubicBezTo>
                      <a:pt x="1221" y="1668"/>
                      <a:pt x="1218" y="1670"/>
                      <a:pt x="1215" y="1672"/>
                    </a:cubicBezTo>
                    <a:cubicBezTo>
                      <a:pt x="1229" y="1699"/>
                      <a:pt x="1232" y="1726"/>
                      <a:pt x="1220" y="1752"/>
                    </a:cubicBezTo>
                    <a:cubicBezTo>
                      <a:pt x="1209" y="1779"/>
                      <a:pt x="1188" y="1795"/>
                      <a:pt x="1160" y="1803"/>
                    </a:cubicBezTo>
                    <a:cubicBezTo>
                      <a:pt x="1160" y="1806"/>
                      <a:pt x="1160" y="1809"/>
                      <a:pt x="1160" y="1813"/>
                    </a:cubicBezTo>
                    <a:cubicBezTo>
                      <a:pt x="1160" y="1851"/>
                      <a:pt x="1159" y="1888"/>
                      <a:pt x="1160" y="1926"/>
                    </a:cubicBezTo>
                    <a:cubicBezTo>
                      <a:pt x="1160" y="1936"/>
                      <a:pt x="1157" y="1943"/>
                      <a:pt x="1150" y="1950"/>
                    </a:cubicBezTo>
                    <a:cubicBezTo>
                      <a:pt x="1110" y="1989"/>
                      <a:pt x="1070" y="2029"/>
                      <a:pt x="1030" y="2069"/>
                    </a:cubicBezTo>
                    <a:cubicBezTo>
                      <a:pt x="1025" y="2074"/>
                      <a:pt x="1023" y="2079"/>
                      <a:pt x="1023" y="2086"/>
                    </a:cubicBezTo>
                    <a:cubicBezTo>
                      <a:pt x="1023" y="2501"/>
                      <a:pt x="1023" y="2917"/>
                      <a:pt x="1023" y="3333"/>
                    </a:cubicBezTo>
                    <a:cubicBezTo>
                      <a:pt x="1023" y="3340"/>
                      <a:pt x="1025" y="3345"/>
                      <a:pt x="1031" y="3350"/>
                    </a:cubicBezTo>
                    <a:cubicBezTo>
                      <a:pt x="1057" y="3376"/>
                      <a:pt x="1083" y="3403"/>
                      <a:pt x="1110" y="3429"/>
                    </a:cubicBezTo>
                    <a:cubicBezTo>
                      <a:pt x="1118" y="3437"/>
                      <a:pt x="1122" y="3446"/>
                      <a:pt x="1122" y="3458"/>
                    </a:cubicBezTo>
                    <a:cubicBezTo>
                      <a:pt x="1121" y="3480"/>
                      <a:pt x="1122" y="3501"/>
                      <a:pt x="1121" y="3523"/>
                    </a:cubicBezTo>
                    <a:cubicBezTo>
                      <a:pt x="1121" y="3527"/>
                      <a:pt x="1122" y="3531"/>
                      <a:pt x="1125" y="3534"/>
                    </a:cubicBezTo>
                    <a:cubicBezTo>
                      <a:pt x="1130" y="3541"/>
                      <a:pt x="1131" y="3549"/>
                      <a:pt x="1131" y="3556"/>
                    </a:cubicBezTo>
                    <a:cubicBezTo>
                      <a:pt x="1131" y="3634"/>
                      <a:pt x="1131" y="3712"/>
                      <a:pt x="1131" y="3791"/>
                    </a:cubicBezTo>
                    <a:cubicBezTo>
                      <a:pt x="1131" y="3794"/>
                      <a:pt x="1131" y="3797"/>
                      <a:pt x="1131" y="3801"/>
                    </a:cubicBezTo>
                    <a:cubicBezTo>
                      <a:pt x="1105" y="3801"/>
                      <a:pt x="1081" y="3801"/>
                      <a:pt x="1056" y="3801"/>
                    </a:cubicBezTo>
                    <a:cubicBezTo>
                      <a:pt x="1056" y="3799"/>
                      <a:pt x="1056" y="3796"/>
                      <a:pt x="1056" y="3793"/>
                    </a:cubicBezTo>
                    <a:cubicBezTo>
                      <a:pt x="1055" y="3713"/>
                      <a:pt x="1056" y="3633"/>
                      <a:pt x="1055" y="3552"/>
                    </a:cubicBezTo>
                    <a:cubicBezTo>
                      <a:pt x="1055" y="3545"/>
                      <a:pt x="1057" y="3538"/>
                      <a:pt x="1062" y="3532"/>
                    </a:cubicBezTo>
                    <a:cubicBezTo>
                      <a:pt x="1064" y="3530"/>
                      <a:pt x="1065" y="3526"/>
                      <a:pt x="1065" y="3523"/>
                    </a:cubicBezTo>
                    <a:cubicBezTo>
                      <a:pt x="1066" y="3506"/>
                      <a:pt x="1065" y="3488"/>
                      <a:pt x="1066" y="3471"/>
                    </a:cubicBezTo>
                    <a:cubicBezTo>
                      <a:pt x="1066" y="3465"/>
                      <a:pt x="1063" y="3462"/>
                      <a:pt x="1060" y="3459"/>
                    </a:cubicBezTo>
                    <a:cubicBezTo>
                      <a:pt x="1036" y="3435"/>
                      <a:pt x="1012" y="3412"/>
                      <a:pt x="989" y="3388"/>
                    </a:cubicBezTo>
                    <a:cubicBezTo>
                      <a:pt x="985" y="3384"/>
                      <a:pt x="982" y="3380"/>
                      <a:pt x="978" y="3377"/>
                    </a:cubicBezTo>
                    <a:cubicBezTo>
                      <a:pt x="971" y="3371"/>
                      <a:pt x="967" y="3363"/>
                      <a:pt x="967" y="3353"/>
                    </a:cubicBezTo>
                    <a:cubicBezTo>
                      <a:pt x="967" y="3349"/>
                      <a:pt x="967" y="3344"/>
                      <a:pt x="967" y="3340"/>
                    </a:cubicBezTo>
                    <a:cubicBezTo>
                      <a:pt x="967" y="2860"/>
                      <a:pt x="967" y="2381"/>
                      <a:pt x="967" y="1902"/>
                    </a:cubicBezTo>
                    <a:cubicBezTo>
                      <a:pt x="967" y="1892"/>
                      <a:pt x="965" y="1886"/>
                      <a:pt x="958" y="1879"/>
                    </a:cubicBezTo>
                    <a:cubicBezTo>
                      <a:pt x="918" y="1839"/>
                      <a:pt x="878" y="1799"/>
                      <a:pt x="838" y="1759"/>
                    </a:cubicBezTo>
                    <a:cubicBezTo>
                      <a:pt x="829" y="1751"/>
                      <a:pt x="825" y="1742"/>
                      <a:pt x="826" y="1730"/>
                    </a:cubicBezTo>
                    <a:cubicBezTo>
                      <a:pt x="826" y="1717"/>
                      <a:pt x="825" y="1703"/>
                      <a:pt x="826" y="1689"/>
                    </a:cubicBezTo>
                    <a:cubicBezTo>
                      <a:pt x="826" y="1682"/>
                      <a:pt x="824" y="1678"/>
                      <a:pt x="819" y="1673"/>
                    </a:cubicBezTo>
                    <a:cubicBezTo>
                      <a:pt x="751" y="1605"/>
                      <a:pt x="683" y="1537"/>
                      <a:pt x="615" y="1469"/>
                    </a:cubicBezTo>
                    <a:cubicBezTo>
                      <a:pt x="599" y="1453"/>
                      <a:pt x="600" y="1455"/>
                      <a:pt x="600" y="1432"/>
                    </a:cubicBezTo>
                    <a:cubicBezTo>
                      <a:pt x="600" y="1369"/>
                      <a:pt x="600" y="1307"/>
                      <a:pt x="600" y="1244"/>
                    </a:cubicBezTo>
                    <a:cubicBezTo>
                      <a:pt x="600" y="1240"/>
                      <a:pt x="600" y="1236"/>
                      <a:pt x="600" y="1232"/>
                    </a:cubicBezTo>
                    <a:cubicBezTo>
                      <a:pt x="597" y="1231"/>
                      <a:pt x="594" y="1229"/>
                      <a:pt x="591" y="1228"/>
                    </a:cubicBezTo>
                    <a:cubicBezTo>
                      <a:pt x="561" y="1213"/>
                      <a:pt x="544" y="1189"/>
                      <a:pt x="542" y="1156"/>
                    </a:cubicBezTo>
                    <a:cubicBezTo>
                      <a:pt x="541" y="1151"/>
                      <a:pt x="540" y="1147"/>
                      <a:pt x="536" y="1144"/>
                    </a:cubicBezTo>
                    <a:cubicBezTo>
                      <a:pt x="509" y="1117"/>
                      <a:pt x="482" y="1090"/>
                      <a:pt x="455" y="1063"/>
                    </a:cubicBezTo>
                    <a:cubicBezTo>
                      <a:pt x="452" y="1059"/>
                      <a:pt x="448" y="1058"/>
                      <a:pt x="443" y="1058"/>
                    </a:cubicBezTo>
                    <a:cubicBezTo>
                      <a:pt x="416" y="1058"/>
                      <a:pt x="388" y="1058"/>
                      <a:pt x="361" y="1058"/>
                    </a:cubicBezTo>
                    <a:cubicBezTo>
                      <a:pt x="351" y="1058"/>
                      <a:pt x="343" y="1055"/>
                      <a:pt x="336" y="1048"/>
                    </a:cubicBezTo>
                    <a:cubicBezTo>
                      <a:pt x="302" y="1013"/>
                      <a:pt x="268" y="979"/>
                      <a:pt x="234" y="946"/>
                    </a:cubicBezTo>
                    <a:cubicBezTo>
                      <a:pt x="227" y="938"/>
                      <a:pt x="223" y="931"/>
                      <a:pt x="223" y="920"/>
                    </a:cubicBezTo>
                    <a:cubicBezTo>
                      <a:pt x="224" y="871"/>
                      <a:pt x="223" y="822"/>
                      <a:pt x="224" y="773"/>
                    </a:cubicBezTo>
                    <a:cubicBezTo>
                      <a:pt x="224" y="766"/>
                      <a:pt x="222" y="761"/>
                      <a:pt x="217" y="757"/>
                    </a:cubicBezTo>
                    <a:cubicBezTo>
                      <a:pt x="193" y="733"/>
                      <a:pt x="170" y="710"/>
                      <a:pt x="146" y="686"/>
                    </a:cubicBezTo>
                    <a:cubicBezTo>
                      <a:pt x="144" y="684"/>
                      <a:pt x="142" y="682"/>
                      <a:pt x="139" y="679"/>
                    </a:cubicBezTo>
                    <a:cubicBezTo>
                      <a:pt x="117" y="691"/>
                      <a:pt x="93" y="694"/>
                      <a:pt x="69" y="687"/>
                    </a:cubicBezTo>
                    <a:cubicBezTo>
                      <a:pt x="49" y="680"/>
                      <a:pt x="34" y="668"/>
                      <a:pt x="23" y="650"/>
                    </a:cubicBezTo>
                    <a:cubicBezTo>
                      <a:pt x="0" y="615"/>
                      <a:pt x="7" y="569"/>
                      <a:pt x="38" y="540"/>
                    </a:cubicBezTo>
                    <a:cubicBezTo>
                      <a:pt x="69" y="512"/>
                      <a:pt x="115" y="510"/>
                      <a:pt x="149" y="535"/>
                    </a:cubicBezTo>
                    <a:cubicBezTo>
                      <a:pt x="185" y="563"/>
                      <a:pt x="192" y="606"/>
                      <a:pt x="168" y="654"/>
                    </a:cubicBezTo>
                    <a:cubicBezTo>
                      <a:pt x="170" y="656"/>
                      <a:pt x="172" y="659"/>
                      <a:pt x="175" y="661"/>
                    </a:cubicBezTo>
                    <a:cubicBezTo>
                      <a:pt x="200" y="687"/>
                      <a:pt x="226" y="712"/>
                      <a:pt x="252" y="738"/>
                    </a:cubicBezTo>
                    <a:cubicBezTo>
                      <a:pt x="258" y="745"/>
                      <a:pt x="261" y="752"/>
                      <a:pt x="261" y="762"/>
                    </a:cubicBezTo>
                    <a:cubicBezTo>
                      <a:pt x="261" y="811"/>
                      <a:pt x="261" y="861"/>
                      <a:pt x="261" y="911"/>
                    </a:cubicBezTo>
                    <a:cubicBezTo>
                      <a:pt x="261" y="917"/>
                      <a:pt x="263" y="921"/>
                      <a:pt x="267" y="926"/>
                    </a:cubicBezTo>
                    <a:cubicBezTo>
                      <a:pt x="297" y="955"/>
                      <a:pt x="326" y="985"/>
                      <a:pt x="356" y="1014"/>
                    </a:cubicBezTo>
                    <a:cubicBezTo>
                      <a:pt x="360" y="1019"/>
                      <a:pt x="364" y="1020"/>
                      <a:pt x="370" y="1020"/>
                    </a:cubicBezTo>
                    <a:cubicBezTo>
                      <a:pt x="396" y="1020"/>
                      <a:pt x="423" y="1021"/>
                      <a:pt x="449" y="1020"/>
                    </a:cubicBezTo>
                    <a:cubicBezTo>
                      <a:pt x="461" y="1020"/>
                      <a:pt x="470" y="1024"/>
                      <a:pt x="478" y="1032"/>
                    </a:cubicBezTo>
                    <a:cubicBezTo>
                      <a:pt x="500" y="1055"/>
                      <a:pt x="523" y="1077"/>
                      <a:pt x="545" y="1099"/>
                    </a:cubicBezTo>
                    <a:cubicBezTo>
                      <a:pt x="547" y="1101"/>
                      <a:pt x="549" y="1104"/>
                      <a:pt x="552" y="1108"/>
                    </a:cubicBezTo>
                    <a:cubicBezTo>
                      <a:pt x="568" y="1082"/>
                      <a:pt x="589" y="1068"/>
                      <a:pt x="618" y="1063"/>
                    </a:cubicBezTo>
                    <a:cubicBezTo>
                      <a:pt x="618" y="1052"/>
                      <a:pt x="618" y="1041"/>
                      <a:pt x="619" y="1030"/>
                    </a:cubicBezTo>
                    <a:cubicBezTo>
                      <a:pt x="620" y="1019"/>
                      <a:pt x="616" y="1012"/>
                      <a:pt x="608" y="1005"/>
                    </a:cubicBezTo>
                    <a:cubicBezTo>
                      <a:pt x="540" y="937"/>
                      <a:pt x="472" y="869"/>
                      <a:pt x="405" y="801"/>
                    </a:cubicBezTo>
                    <a:cubicBezTo>
                      <a:pt x="386" y="783"/>
                      <a:pt x="390" y="792"/>
                      <a:pt x="390" y="765"/>
                    </a:cubicBezTo>
                    <a:cubicBezTo>
                      <a:pt x="390" y="757"/>
                      <a:pt x="390" y="749"/>
                      <a:pt x="390" y="741"/>
                    </a:cubicBezTo>
                    <a:cubicBezTo>
                      <a:pt x="356" y="730"/>
                      <a:pt x="342" y="711"/>
                      <a:pt x="346" y="683"/>
                    </a:cubicBezTo>
                    <a:cubicBezTo>
                      <a:pt x="349" y="660"/>
                      <a:pt x="369" y="642"/>
                      <a:pt x="393" y="640"/>
                    </a:cubicBezTo>
                    <a:cubicBezTo>
                      <a:pt x="416" y="639"/>
                      <a:pt x="438" y="655"/>
                      <a:pt x="444" y="678"/>
                    </a:cubicBezTo>
                    <a:cubicBezTo>
                      <a:pt x="451" y="704"/>
                      <a:pt x="439" y="725"/>
                      <a:pt x="409" y="740"/>
                    </a:cubicBezTo>
                    <a:cubicBezTo>
                      <a:pt x="409" y="751"/>
                      <a:pt x="408" y="764"/>
                      <a:pt x="409" y="776"/>
                    </a:cubicBezTo>
                    <a:cubicBezTo>
                      <a:pt x="409" y="778"/>
                      <a:pt x="410" y="780"/>
                      <a:pt x="411" y="781"/>
                    </a:cubicBezTo>
                    <a:cubicBezTo>
                      <a:pt x="413" y="783"/>
                      <a:pt x="415" y="785"/>
                      <a:pt x="417" y="787"/>
                    </a:cubicBezTo>
                    <a:cubicBezTo>
                      <a:pt x="487" y="857"/>
                      <a:pt x="558" y="928"/>
                      <a:pt x="629" y="999"/>
                    </a:cubicBezTo>
                    <a:cubicBezTo>
                      <a:pt x="635" y="1005"/>
                      <a:pt x="638" y="1011"/>
                      <a:pt x="638" y="1020"/>
                    </a:cubicBezTo>
                    <a:cubicBezTo>
                      <a:pt x="637" y="1034"/>
                      <a:pt x="637" y="1048"/>
                      <a:pt x="637" y="1063"/>
                    </a:cubicBezTo>
                    <a:cubicBezTo>
                      <a:pt x="664" y="1068"/>
                      <a:pt x="685" y="1080"/>
                      <a:pt x="700" y="1101"/>
                    </a:cubicBezTo>
                    <a:cubicBezTo>
                      <a:pt x="710" y="1118"/>
                      <a:pt x="715" y="1135"/>
                      <a:pt x="714" y="1155"/>
                    </a:cubicBezTo>
                    <a:cubicBezTo>
                      <a:pt x="712" y="1195"/>
                      <a:pt x="684" y="1225"/>
                      <a:pt x="638" y="1236"/>
                    </a:cubicBezTo>
                    <a:cubicBezTo>
                      <a:pt x="638" y="1239"/>
                      <a:pt x="638" y="1242"/>
                      <a:pt x="638" y="1244"/>
                    </a:cubicBezTo>
                    <a:cubicBezTo>
                      <a:pt x="637" y="1307"/>
                      <a:pt x="638" y="1369"/>
                      <a:pt x="637" y="1431"/>
                    </a:cubicBezTo>
                    <a:cubicBezTo>
                      <a:pt x="637" y="1435"/>
                      <a:pt x="638" y="1439"/>
                      <a:pt x="642" y="1443"/>
                    </a:cubicBezTo>
                    <a:cubicBezTo>
                      <a:pt x="701" y="1502"/>
                      <a:pt x="761" y="1562"/>
                      <a:pt x="820" y="1621"/>
                    </a:cubicBezTo>
                    <a:cubicBezTo>
                      <a:pt x="822" y="1622"/>
                      <a:pt x="823" y="1623"/>
                      <a:pt x="824" y="1624"/>
                    </a:cubicBezTo>
                    <a:cubicBezTo>
                      <a:pt x="826" y="1617"/>
                      <a:pt x="827" y="1466"/>
                      <a:pt x="825" y="1451"/>
                    </a:cubicBezTo>
                    <a:close/>
                    <a:moveTo>
                      <a:pt x="1329" y="110"/>
                    </a:moveTo>
                    <a:cubicBezTo>
                      <a:pt x="1329" y="81"/>
                      <a:pt x="1305" y="57"/>
                      <a:pt x="1276" y="57"/>
                    </a:cubicBezTo>
                    <a:cubicBezTo>
                      <a:pt x="1247" y="57"/>
                      <a:pt x="1223" y="80"/>
                      <a:pt x="1222" y="110"/>
                    </a:cubicBezTo>
                    <a:cubicBezTo>
                      <a:pt x="1222" y="139"/>
                      <a:pt x="1246" y="164"/>
                      <a:pt x="1276" y="163"/>
                    </a:cubicBezTo>
                    <a:cubicBezTo>
                      <a:pt x="1305" y="163"/>
                      <a:pt x="1329" y="139"/>
                      <a:pt x="1329" y="110"/>
                    </a:cubicBezTo>
                    <a:close/>
                    <a:moveTo>
                      <a:pt x="861" y="1341"/>
                    </a:moveTo>
                    <a:cubicBezTo>
                      <a:pt x="861" y="1312"/>
                      <a:pt x="837" y="1288"/>
                      <a:pt x="808" y="1288"/>
                    </a:cubicBezTo>
                    <a:cubicBezTo>
                      <a:pt x="778" y="1288"/>
                      <a:pt x="755" y="1312"/>
                      <a:pt x="755" y="1341"/>
                    </a:cubicBezTo>
                    <a:cubicBezTo>
                      <a:pt x="755" y="1371"/>
                      <a:pt x="778" y="1395"/>
                      <a:pt x="808" y="1395"/>
                    </a:cubicBezTo>
                    <a:cubicBezTo>
                      <a:pt x="838" y="1394"/>
                      <a:pt x="861" y="1371"/>
                      <a:pt x="861" y="1341"/>
                    </a:cubicBezTo>
                    <a:close/>
                    <a:moveTo>
                      <a:pt x="677" y="1149"/>
                    </a:moveTo>
                    <a:cubicBezTo>
                      <a:pt x="676" y="1122"/>
                      <a:pt x="655" y="1101"/>
                      <a:pt x="628" y="1101"/>
                    </a:cubicBezTo>
                    <a:cubicBezTo>
                      <a:pt x="601" y="1101"/>
                      <a:pt x="579" y="1123"/>
                      <a:pt x="579" y="1150"/>
                    </a:cubicBezTo>
                    <a:cubicBezTo>
                      <a:pt x="578" y="1177"/>
                      <a:pt x="601" y="1199"/>
                      <a:pt x="628" y="1199"/>
                    </a:cubicBezTo>
                    <a:cubicBezTo>
                      <a:pt x="655" y="1198"/>
                      <a:pt x="677" y="1176"/>
                      <a:pt x="677" y="1149"/>
                    </a:cubicBezTo>
                    <a:close/>
                    <a:moveTo>
                      <a:pt x="988" y="175"/>
                    </a:moveTo>
                    <a:cubicBezTo>
                      <a:pt x="961" y="175"/>
                      <a:pt x="939" y="197"/>
                      <a:pt x="939" y="224"/>
                    </a:cubicBezTo>
                    <a:cubicBezTo>
                      <a:pt x="939" y="251"/>
                      <a:pt x="961" y="273"/>
                      <a:pt x="987" y="273"/>
                    </a:cubicBezTo>
                    <a:cubicBezTo>
                      <a:pt x="1014" y="273"/>
                      <a:pt x="1037" y="251"/>
                      <a:pt x="1037" y="224"/>
                    </a:cubicBezTo>
                    <a:cubicBezTo>
                      <a:pt x="1037" y="197"/>
                      <a:pt x="1015" y="175"/>
                      <a:pt x="988" y="175"/>
                    </a:cubicBezTo>
                    <a:close/>
                    <a:moveTo>
                      <a:pt x="1437" y="1273"/>
                    </a:moveTo>
                    <a:cubicBezTo>
                      <a:pt x="1410" y="1273"/>
                      <a:pt x="1388" y="1295"/>
                      <a:pt x="1388" y="1322"/>
                    </a:cubicBezTo>
                    <a:cubicBezTo>
                      <a:pt x="1389" y="1349"/>
                      <a:pt x="1411" y="1371"/>
                      <a:pt x="1437" y="1371"/>
                    </a:cubicBezTo>
                    <a:cubicBezTo>
                      <a:pt x="1464" y="1371"/>
                      <a:pt x="1487" y="1348"/>
                      <a:pt x="1486" y="1321"/>
                    </a:cubicBezTo>
                    <a:cubicBezTo>
                      <a:pt x="1486" y="1294"/>
                      <a:pt x="1464" y="1273"/>
                      <a:pt x="1437" y="1273"/>
                    </a:cubicBezTo>
                    <a:close/>
                    <a:moveTo>
                      <a:pt x="96" y="555"/>
                    </a:moveTo>
                    <a:cubicBezTo>
                      <a:pt x="69" y="555"/>
                      <a:pt x="47" y="577"/>
                      <a:pt x="47" y="604"/>
                    </a:cubicBezTo>
                    <a:cubicBezTo>
                      <a:pt x="47" y="631"/>
                      <a:pt x="69" y="653"/>
                      <a:pt x="96" y="653"/>
                    </a:cubicBezTo>
                    <a:cubicBezTo>
                      <a:pt x="123" y="653"/>
                      <a:pt x="145" y="631"/>
                      <a:pt x="145" y="604"/>
                    </a:cubicBezTo>
                    <a:cubicBezTo>
                      <a:pt x="145" y="577"/>
                      <a:pt x="123" y="555"/>
                      <a:pt x="96" y="555"/>
                    </a:cubicBezTo>
                    <a:close/>
                    <a:moveTo>
                      <a:pt x="1141" y="1767"/>
                    </a:moveTo>
                    <a:cubicBezTo>
                      <a:pt x="1168" y="1767"/>
                      <a:pt x="1190" y="1744"/>
                      <a:pt x="1190" y="1718"/>
                    </a:cubicBezTo>
                    <a:cubicBezTo>
                      <a:pt x="1190" y="1691"/>
                      <a:pt x="1168" y="1669"/>
                      <a:pt x="1141" y="1669"/>
                    </a:cubicBezTo>
                    <a:cubicBezTo>
                      <a:pt x="1114" y="1669"/>
                      <a:pt x="1092" y="1691"/>
                      <a:pt x="1092" y="1719"/>
                    </a:cubicBezTo>
                    <a:cubicBezTo>
                      <a:pt x="1092" y="1745"/>
                      <a:pt x="1114" y="1767"/>
                      <a:pt x="1141" y="1767"/>
                    </a:cubicBezTo>
                    <a:close/>
                    <a:moveTo>
                      <a:pt x="1794" y="401"/>
                    </a:moveTo>
                    <a:cubicBezTo>
                      <a:pt x="1767" y="401"/>
                      <a:pt x="1745" y="422"/>
                      <a:pt x="1745" y="449"/>
                    </a:cubicBezTo>
                    <a:cubicBezTo>
                      <a:pt x="1745" y="477"/>
                      <a:pt x="1767" y="499"/>
                      <a:pt x="1794" y="499"/>
                    </a:cubicBezTo>
                    <a:cubicBezTo>
                      <a:pt x="1821" y="499"/>
                      <a:pt x="1843" y="477"/>
                      <a:pt x="1843" y="450"/>
                    </a:cubicBezTo>
                    <a:cubicBezTo>
                      <a:pt x="1843" y="423"/>
                      <a:pt x="1821" y="401"/>
                      <a:pt x="1794" y="401"/>
                    </a:cubicBezTo>
                    <a:close/>
                    <a:moveTo>
                      <a:pt x="798" y="50"/>
                    </a:moveTo>
                    <a:cubicBezTo>
                      <a:pt x="773" y="50"/>
                      <a:pt x="753" y="69"/>
                      <a:pt x="753" y="94"/>
                    </a:cubicBezTo>
                    <a:cubicBezTo>
                      <a:pt x="753" y="119"/>
                      <a:pt x="772" y="139"/>
                      <a:pt x="797" y="139"/>
                    </a:cubicBezTo>
                    <a:cubicBezTo>
                      <a:pt x="822" y="139"/>
                      <a:pt x="843" y="119"/>
                      <a:pt x="843" y="95"/>
                    </a:cubicBezTo>
                    <a:cubicBezTo>
                      <a:pt x="843" y="70"/>
                      <a:pt x="823" y="50"/>
                      <a:pt x="798" y="50"/>
                    </a:cubicBezTo>
                    <a:close/>
                    <a:moveTo>
                      <a:pt x="774" y="569"/>
                    </a:moveTo>
                    <a:cubicBezTo>
                      <a:pt x="755" y="569"/>
                      <a:pt x="739" y="585"/>
                      <a:pt x="739" y="604"/>
                    </a:cubicBezTo>
                    <a:cubicBezTo>
                      <a:pt x="739" y="624"/>
                      <a:pt x="755" y="640"/>
                      <a:pt x="774" y="640"/>
                    </a:cubicBezTo>
                    <a:cubicBezTo>
                      <a:pt x="794" y="640"/>
                      <a:pt x="810" y="623"/>
                      <a:pt x="810" y="604"/>
                    </a:cubicBezTo>
                    <a:cubicBezTo>
                      <a:pt x="810" y="585"/>
                      <a:pt x="794" y="569"/>
                      <a:pt x="774" y="569"/>
                    </a:cubicBezTo>
                    <a:close/>
                    <a:moveTo>
                      <a:pt x="540" y="165"/>
                    </a:moveTo>
                    <a:cubicBezTo>
                      <a:pt x="540" y="181"/>
                      <a:pt x="555" y="196"/>
                      <a:pt x="571" y="196"/>
                    </a:cubicBezTo>
                    <a:cubicBezTo>
                      <a:pt x="588" y="196"/>
                      <a:pt x="603" y="182"/>
                      <a:pt x="603" y="165"/>
                    </a:cubicBezTo>
                    <a:cubicBezTo>
                      <a:pt x="603" y="148"/>
                      <a:pt x="588" y="133"/>
                      <a:pt x="571" y="133"/>
                    </a:cubicBezTo>
                    <a:cubicBezTo>
                      <a:pt x="555" y="133"/>
                      <a:pt x="540" y="148"/>
                      <a:pt x="540" y="165"/>
                    </a:cubicBezTo>
                    <a:close/>
                    <a:moveTo>
                      <a:pt x="427" y="690"/>
                    </a:moveTo>
                    <a:cubicBezTo>
                      <a:pt x="426" y="673"/>
                      <a:pt x="412" y="659"/>
                      <a:pt x="395" y="659"/>
                    </a:cubicBezTo>
                    <a:cubicBezTo>
                      <a:pt x="378" y="659"/>
                      <a:pt x="364" y="674"/>
                      <a:pt x="364" y="691"/>
                    </a:cubicBezTo>
                    <a:cubicBezTo>
                      <a:pt x="365" y="708"/>
                      <a:pt x="379" y="722"/>
                      <a:pt x="396" y="722"/>
                    </a:cubicBezTo>
                    <a:cubicBezTo>
                      <a:pt x="413" y="722"/>
                      <a:pt x="427" y="707"/>
                      <a:pt x="427" y="690"/>
                    </a:cubicBezTo>
                    <a:close/>
                    <a:moveTo>
                      <a:pt x="1311" y="693"/>
                    </a:moveTo>
                    <a:cubicBezTo>
                      <a:pt x="1311" y="676"/>
                      <a:pt x="1297" y="662"/>
                      <a:pt x="1280" y="662"/>
                    </a:cubicBezTo>
                    <a:cubicBezTo>
                      <a:pt x="1263" y="661"/>
                      <a:pt x="1249" y="676"/>
                      <a:pt x="1248" y="693"/>
                    </a:cubicBezTo>
                    <a:cubicBezTo>
                      <a:pt x="1248" y="710"/>
                      <a:pt x="1262" y="724"/>
                      <a:pt x="1280" y="724"/>
                    </a:cubicBezTo>
                    <a:cubicBezTo>
                      <a:pt x="1297" y="724"/>
                      <a:pt x="1311" y="710"/>
                      <a:pt x="1311" y="693"/>
                    </a:cubicBezTo>
                    <a:close/>
                    <a:moveTo>
                      <a:pt x="1201" y="1252"/>
                    </a:moveTo>
                    <a:cubicBezTo>
                      <a:pt x="1201" y="1235"/>
                      <a:pt x="1187" y="1221"/>
                      <a:pt x="1170" y="1221"/>
                    </a:cubicBezTo>
                    <a:cubicBezTo>
                      <a:pt x="1153" y="1221"/>
                      <a:pt x="1139" y="1235"/>
                      <a:pt x="1139" y="1251"/>
                    </a:cubicBezTo>
                    <a:cubicBezTo>
                      <a:pt x="1139" y="1269"/>
                      <a:pt x="1153" y="1283"/>
                      <a:pt x="1170" y="1283"/>
                    </a:cubicBezTo>
                    <a:cubicBezTo>
                      <a:pt x="1187" y="1283"/>
                      <a:pt x="1201" y="1269"/>
                      <a:pt x="1201" y="1252"/>
                    </a:cubicBezTo>
                    <a:close/>
                    <a:moveTo>
                      <a:pt x="1390" y="459"/>
                    </a:moveTo>
                    <a:cubicBezTo>
                      <a:pt x="1390" y="442"/>
                      <a:pt x="1376" y="427"/>
                      <a:pt x="1359" y="427"/>
                    </a:cubicBezTo>
                    <a:cubicBezTo>
                      <a:pt x="1342" y="427"/>
                      <a:pt x="1328" y="441"/>
                      <a:pt x="1328" y="458"/>
                    </a:cubicBezTo>
                    <a:cubicBezTo>
                      <a:pt x="1328" y="476"/>
                      <a:pt x="1342" y="490"/>
                      <a:pt x="1360" y="490"/>
                    </a:cubicBezTo>
                    <a:cubicBezTo>
                      <a:pt x="1377" y="490"/>
                      <a:pt x="1390" y="476"/>
                      <a:pt x="1390" y="459"/>
                    </a:cubicBezTo>
                    <a:close/>
                    <a:moveTo>
                      <a:pt x="1490" y="419"/>
                    </a:moveTo>
                    <a:cubicBezTo>
                      <a:pt x="1507" y="419"/>
                      <a:pt x="1521" y="405"/>
                      <a:pt x="1521" y="388"/>
                    </a:cubicBezTo>
                    <a:cubicBezTo>
                      <a:pt x="1521" y="371"/>
                      <a:pt x="1508" y="357"/>
                      <a:pt x="1490" y="357"/>
                    </a:cubicBezTo>
                    <a:cubicBezTo>
                      <a:pt x="1473" y="357"/>
                      <a:pt x="1459" y="371"/>
                      <a:pt x="1459" y="388"/>
                    </a:cubicBezTo>
                    <a:cubicBezTo>
                      <a:pt x="1459" y="406"/>
                      <a:pt x="1473" y="419"/>
                      <a:pt x="1490" y="419"/>
                    </a:cubicBezTo>
                    <a:close/>
                    <a:moveTo>
                      <a:pt x="299" y="324"/>
                    </a:moveTo>
                    <a:cubicBezTo>
                      <a:pt x="299" y="341"/>
                      <a:pt x="313" y="355"/>
                      <a:pt x="330" y="355"/>
                    </a:cubicBezTo>
                    <a:cubicBezTo>
                      <a:pt x="347" y="355"/>
                      <a:pt x="361" y="341"/>
                      <a:pt x="361" y="324"/>
                    </a:cubicBezTo>
                    <a:cubicBezTo>
                      <a:pt x="361" y="307"/>
                      <a:pt x="347" y="292"/>
                      <a:pt x="330" y="292"/>
                    </a:cubicBezTo>
                    <a:cubicBezTo>
                      <a:pt x="313" y="293"/>
                      <a:pt x="299" y="307"/>
                      <a:pt x="299" y="324"/>
                    </a:cubicBezTo>
                    <a:close/>
                    <a:moveTo>
                      <a:pt x="1563" y="470"/>
                    </a:moveTo>
                    <a:cubicBezTo>
                      <a:pt x="1546" y="470"/>
                      <a:pt x="1532" y="484"/>
                      <a:pt x="1532" y="502"/>
                    </a:cubicBezTo>
                    <a:cubicBezTo>
                      <a:pt x="1532" y="519"/>
                      <a:pt x="1546" y="533"/>
                      <a:pt x="1563" y="532"/>
                    </a:cubicBezTo>
                    <a:cubicBezTo>
                      <a:pt x="1581" y="532"/>
                      <a:pt x="1594" y="519"/>
                      <a:pt x="1594" y="501"/>
                    </a:cubicBezTo>
                    <a:cubicBezTo>
                      <a:pt x="1594" y="484"/>
                      <a:pt x="1580" y="470"/>
                      <a:pt x="1563" y="470"/>
                    </a:cubicBezTo>
                    <a:close/>
                    <a:moveTo>
                      <a:pt x="1097" y="1370"/>
                    </a:moveTo>
                    <a:cubicBezTo>
                      <a:pt x="1114" y="1370"/>
                      <a:pt x="1128" y="1356"/>
                      <a:pt x="1128" y="1339"/>
                    </a:cubicBezTo>
                    <a:cubicBezTo>
                      <a:pt x="1129" y="1322"/>
                      <a:pt x="1114" y="1307"/>
                      <a:pt x="1097" y="1307"/>
                    </a:cubicBezTo>
                    <a:cubicBezTo>
                      <a:pt x="1080" y="1307"/>
                      <a:pt x="1066" y="1321"/>
                      <a:pt x="1066" y="1338"/>
                    </a:cubicBezTo>
                    <a:cubicBezTo>
                      <a:pt x="1066" y="1355"/>
                      <a:pt x="1079" y="1369"/>
                      <a:pt x="1097" y="1370"/>
                    </a:cubicBezTo>
                    <a:close/>
                    <a:moveTo>
                      <a:pt x="732" y="400"/>
                    </a:moveTo>
                    <a:cubicBezTo>
                      <a:pt x="732" y="382"/>
                      <a:pt x="718" y="369"/>
                      <a:pt x="701" y="369"/>
                    </a:cubicBezTo>
                    <a:cubicBezTo>
                      <a:pt x="683" y="369"/>
                      <a:pt x="670" y="383"/>
                      <a:pt x="670" y="400"/>
                    </a:cubicBezTo>
                    <a:cubicBezTo>
                      <a:pt x="670" y="418"/>
                      <a:pt x="684" y="431"/>
                      <a:pt x="701" y="431"/>
                    </a:cubicBezTo>
                    <a:cubicBezTo>
                      <a:pt x="719" y="431"/>
                      <a:pt x="732" y="417"/>
                      <a:pt x="732" y="400"/>
                    </a:cubicBezTo>
                    <a:close/>
                    <a:moveTo>
                      <a:pt x="939" y="872"/>
                    </a:moveTo>
                    <a:cubicBezTo>
                      <a:pt x="939" y="855"/>
                      <a:pt x="926" y="841"/>
                      <a:pt x="908" y="841"/>
                    </a:cubicBezTo>
                    <a:cubicBezTo>
                      <a:pt x="891" y="841"/>
                      <a:pt x="877" y="855"/>
                      <a:pt x="877" y="872"/>
                    </a:cubicBezTo>
                    <a:cubicBezTo>
                      <a:pt x="877" y="890"/>
                      <a:pt x="891" y="903"/>
                      <a:pt x="908" y="903"/>
                    </a:cubicBezTo>
                    <a:cubicBezTo>
                      <a:pt x="926" y="903"/>
                      <a:pt x="939" y="890"/>
                      <a:pt x="939" y="872"/>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sz="1200"/>
              </a:p>
            </p:txBody>
          </p:sp>
          <p:sp>
            <p:nvSpPr>
              <p:cNvPr id="147" name="Freeform 6"/>
              <p:cNvSpPr>
                <a:spLocks noEditPoints="1"/>
              </p:cNvSpPr>
              <p:nvPr/>
            </p:nvSpPr>
            <p:spPr bwMode="auto">
              <a:xfrm>
                <a:off x="4094163" y="3416300"/>
                <a:ext cx="668338" cy="2162175"/>
              </a:xfrm>
              <a:custGeom>
                <a:avLst/>
                <a:gdLst>
                  <a:gd name="T0" fmla="*/ 876 w 984"/>
                  <a:gd name="T1" fmla="*/ 279 h 3185"/>
                  <a:gd name="T2" fmla="*/ 705 w 984"/>
                  <a:gd name="T3" fmla="*/ 657 h 3185"/>
                  <a:gd name="T4" fmla="*/ 846 w 984"/>
                  <a:gd name="T5" fmla="*/ 581 h 3185"/>
                  <a:gd name="T6" fmla="*/ 864 w 984"/>
                  <a:gd name="T7" fmla="*/ 605 h 3185"/>
                  <a:gd name="T8" fmla="*/ 692 w 984"/>
                  <a:gd name="T9" fmla="*/ 700 h 3185"/>
                  <a:gd name="T10" fmla="*/ 605 w 984"/>
                  <a:gd name="T11" fmla="*/ 875 h 3185"/>
                  <a:gd name="T12" fmla="*/ 807 w 984"/>
                  <a:gd name="T13" fmla="*/ 787 h 3185"/>
                  <a:gd name="T14" fmla="*/ 822 w 984"/>
                  <a:gd name="T15" fmla="*/ 811 h 3185"/>
                  <a:gd name="T16" fmla="*/ 612 w 984"/>
                  <a:gd name="T17" fmla="*/ 894 h 3185"/>
                  <a:gd name="T18" fmla="*/ 616 w 984"/>
                  <a:gd name="T19" fmla="*/ 918 h 3185"/>
                  <a:gd name="T20" fmla="*/ 752 w 984"/>
                  <a:gd name="T21" fmla="*/ 822 h 3185"/>
                  <a:gd name="T22" fmla="*/ 693 w 984"/>
                  <a:gd name="T23" fmla="*/ 876 h 3185"/>
                  <a:gd name="T24" fmla="*/ 549 w 984"/>
                  <a:gd name="T25" fmla="*/ 941 h 3185"/>
                  <a:gd name="T26" fmla="*/ 486 w 984"/>
                  <a:gd name="T27" fmla="*/ 1039 h 3185"/>
                  <a:gd name="T28" fmla="*/ 704 w 984"/>
                  <a:gd name="T29" fmla="*/ 909 h 3185"/>
                  <a:gd name="T30" fmla="*/ 582 w 984"/>
                  <a:gd name="T31" fmla="*/ 977 h 3185"/>
                  <a:gd name="T32" fmla="*/ 421 w 984"/>
                  <a:gd name="T33" fmla="*/ 1069 h 3185"/>
                  <a:gd name="T34" fmla="*/ 185 w 984"/>
                  <a:gd name="T35" fmla="*/ 1401 h 3185"/>
                  <a:gd name="T36" fmla="*/ 374 w 984"/>
                  <a:gd name="T37" fmla="*/ 1333 h 3185"/>
                  <a:gd name="T38" fmla="*/ 336 w 984"/>
                  <a:gd name="T39" fmla="*/ 1193 h 3185"/>
                  <a:gd name="T40" fmla="*/ 393 w 984"/>
                  <a:gd name="T41" fmla="*/ 1341 h 3185"/>
                  <a:gd name="T42" fmla="*/ 154 w 984"/>
                  <a:gd name="T43" fmla="*/ 1442 h 3185"/>
                  <a:gd name="T44" fmla="*/ 482 w 984"/>
                  <a:gd name="T45" fmla="*/ 1219 h 3185"/>
                  <a:gd name="T46" fmla="*/ 331 w 984"/>
                  <a:gd name="T47" fmla="*/ 1453 h 3185"/>
                  <a:gd name="T48" fmla="*/ 37 w 984"/>
                  <a:gd name="T49" fmla="*/ 1560 h 3185"/>
                  <a:gd name="T50" fmla="*/ 192 w 984"/>
                  <a:gd name="T51" fmla="*/ 2843 h 3185"/>
                  <a:gd name="T52" fmla="*/ 211 w 984"/>
                  <a:gd name="T53" fmla="*/ 3185 h 3185"/>
                  <a:gd name="T54" fmla="*/ 154 w 984"/>
                  <a:gd name="T55" fmla="*/ 2899 h 3185"/>
                  <a:gd name="T56" fmla="*/ 0 w 984"/>
                  <a:gd name="T57" fmla="*/ 2683 h 3185"/>
                  <a:gd name="T58" fmla="*/ 30 w 984"/>
                  <a:gd name="T59" fmla="*/ 1502 h 3185"/>
                  <a:gd name="T60" fmla="*/ 509 w 984"/>
                  <a:gd name="T61" fmla="*/ 929 h 3185"/>
                  <a:gd name="T62" fmla="*/ 435 w 984"/>
                  <a:gd name="T63" fmla="*/ 458 h 3185"/>
                  <a:gd name="T64" fmla="*/ 669 w 984"/>
                  <a:gd name="T65" fmla="*/ 75 h 3185"/>
                  <a:gd name="T66" fmla="*/ 691 w 984"/>
                  <a:gd name="T67" fmla="*/ 91 h 3185"/>
                  <a:gd name="T68" fmla="*/ 537 w 984"/>
                  <a:gd name="T69" fmla="*/ 374 h 3185"/>
                  <a:gd name="T70" fmla="*/ 574 w 984"/>
                  <a:gd name="T71" fmla="*/ 779 h 3185"/>
                  <a:gd name="T72" fmla="*/ 619 w 984"/>
                  <a:gd name="T73" fmla="*/ 533 h 3185"/>
                  <a:gd name="T74" fmla="*/ 560 w 984"/>
                  <a:gd name="T75" fmla="*/ 332 h 3185"/>
                  <a:gd name="T76" fmla="*/ 612 w 984"/>
                  <a:gd name="T77" fmla="*/ 199 h 3185"/>
                  <a:gd name="T78" fmla="*/ 579 w 984"/>
                  <a:gd name="T79" fmla="*/ 315 h 3185"/>
                  <a:gd name="T80" fmla="*/ 636 w 984"/>
                  <a:gd name="T81" fmla="*/ 542 h 3185"/>
                  <a:gd name="T82" fmla="*/ 602 w 984"/>
                  <a:gd name="T83" fmla="*/ 751 h 3185"/>
                  <a:gd name="T84" fmla="*/ 793 w 984"/>
                  <a:gd name="T85" fmla="*/ 240 h 3185"/>
                  <a:gd name="T86" fmla="*/ 875 w 984"/>
                  <a:gd name="T87" fmla="*/ 251 h 3185"/>
                  <a:gd name="T88" fmla="*/ 472 w 984"/>
                  <a:gd name="T89" fmla="*/ 465 h 3185"/>
                  <a:gd name="T90" fmla="*/ 908 w 984"/>
                  <a:gd name="T91" fmla="*/ 592 h 3185"/>
                  <a:gd name="T92" fmla="*/ 692 w 984"/>
                  <a:gd name="T93" fmla="*/ 54 h 3185"/>
                  <a:gd name="T94" fmla="*/ 667 w 984"/>
                  <a:gd name="T95" fmla="*/ 959 h 3185"/>
                  <a:gd name="T96" fmla="*/ 636 w 984"/>
                  <a:gd name="T97" fmla="*/ 275 h 3185"/>
                  <a:gd name="T98" fmla="*/ 888 w 984"/>
                  <a:gd name="T99" fmla="*/ 776 h 3185"/>
                  <a:gd name="T100" fmla="*/ 509 w 984"/>
                  <a:gd name="T101" fmla="*/ 1230 h 3185"/>
                  <a:gd name="T102" fmla="*/ 771 w 984"/>
                  <a:gd name="T103" fmla="*/ 899 h 3185"/>
                  <a:gd name="T104" fmla="*/ 359 w 984"/>
                  <a:gd name="T105" fmla="*/ 1268 h 3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4" h="3185">
                    <a:moveTo>
                      <a:pt x="801" y="234"/>
                    </a:moveTo>
                    <a:cubicBezTo>
                      <a:pt x="780" y="184"/>
                      <a:pt x="804" y="142"/>
                      <a:pt x="836" y="125"/>
                    </a:cubicBezTo>
                    <a:cubicBezTo>
                      <a:pt x="871" y="106"/>
                      <a:pt x="916" y="115"/>
                      <a:pt x="940" y="148"/>
                    </a:cubicBezTo>
                    <a:cubicBezTo>
                      <a:pt x="965" y="180"/>
                      <a:pt x="962" y="225"/>
                      <a:pt x="934" y="254"/>
                    </a:cubicBezTo>
                    <a:cubicBezTo>
                      <a:pt x="918" y="270"/>
                      <a:pt x="899" y="278"/>
                      <a:pt x="876" y="279"/>
                    </a:cubicBezTo>
                    <a:cubicBezTo>
                      <a:pt x="856" y="280"/>
                      <a:pt x="843" y="274"/>
                      <a:pt x="817" y="256"/>
                    </a:cubicBezTo>
                    <a:cubicBezTo>
                      <a:pt x="815" y="258"/>
                      <a:pt x="813" y="260"/>
                      <a:pt x="811" y="262"/>
                    </a:cubicBezTo>
                    <a:cubicBezTo>
                      <a:pt x="778" y="295"/>
                      <a:pt x="745" y="329"/>
                      <a:pt x="711" y="362"/>
                    </a:cubicBezTo>
                    <a:cubicBezTo>
                      <a:pt x="707" y="366"/>
                      <a:pt x="705" y="370"/>
                      <a:pt x="705" y="376"/>
                    </a:cubicBezTo>
                    <a:cubicBezTo>
                      <a:pt x="705" y="470"/>
                      <a:pt x="705" y="564"/>
                      <a:pt x="705" y="657"/>
                    </a:cubicBezTo>
                    <a:cubicBezTo>
                      <a:pt x="705" y="660"/>
                      <a:pt x="706" y="663"/>
                      <a:pt x="706" y="666"/>
                    </a:cubicBezTo>
                    <a:cubicBezTo>
                      <a:pt x="708" y="667"/>
                      <a:pt x="710" y="667"/>
                      <a:pt x="712" y="667"/>
                    </a:cubicBezTo>
                    <a:cubicBezTo>
                      <a:pt x="727" y="667"/>
                      <a:pt x="741" y="667"/>
                      <a:pt x="755" y="667"/>
                    </a:cubicBezTo>
                    <a:cubicBezTo>
                      <a:pt x="758" y="667"/>
                      <a:pt x="761" y="666"/>
                      <a:pt x="763" y="664"/>
                    </a:cubicBezTo>
                    <a:cubicBezTo>
                      <a:pt x="791" y="637"/>
                      <a:pt x="819" y="609"/>
                      <a:pt x="846" y="581"/>
                    </a:cubicBezTo>
                    <a:cubicBezTo>
                      <a:pt x="839" y="560"/>
                      <a:pt x="838" y="540"/>
                      <a:pt x="849" y="520"/>
                    </a:cubicBezTo>
                    <a:cubicBezTo>
                      <a:pt x="857" y="506"/>
                      <a:pt x="868" y="495"/>
                      <a:pt x="883" y="489"/>
                    </a:cubicBezTo>
                    <a:cubicBezTo>
                      <a:pt x="913" y="477"/>
                      <a:pt x="947" y="487"/>
                      <a:pt x="965" y="513"/>
                    </a:cubicBezTo>
                    <a:cubicBezTo>
                      <a:pt x="984" y="540"/>
                      <a:pt x="981" y="576"/>
                      <a:pt x="959" y="599"/>
                    </a:cubicBezTo>
                    <a:cubicBezTo>
                      <a:pt x="934" y="625"/>
                      <a:pt x="902" y="627"/>
                      <a:pt x="864" y="605"/>
                    </a:cubicBezTo>
                    <a:cubicBezTo>
                      <a:pt x="862" y="607"/>
                      <a:pt x="859" y="609"/>
                      <a:pt x="857" y="611"/>
                    </a:cubicBezTo>
                    <a:cubicBezTo>
                      <a:pt x="832" y="636"/>
                      <a:pt x="806" y="661"/>
                      <a:pt x="781" y="687"/>
                    </a:cubicBezTo>
                    <a:cubicBezTo>
                      <a:pt x="775" y="693"/>
                      <a:pt x="769" y="696"/>
                      <a:pt x="761" y="695"/>
                    </a:cubicBezTo>
                    <a:cubicBezTo>
                      <a:pt x="742" y="695"/>
                      <a:pt x="724" y="696"/>
                      <a:pt x="705" y="695"/>
                    </a:cubicBezTo>
                    <a:cubicBezTo>
                      <a:pt x="700" y="695"/>
                      <a:pt x="696" y="697"/>
                      <a:pt x="692" y="700"/>
                    </a:cubicBezTo>
                    <a:cubicBezTo>
                      <a:pt x="648" y="745"/>
                      <a:pt x="604" y="789"/>
                      <a:pt x="559" y="834"/>
                    </a:cubicBezTo>
                    <a:cubicBezTo>
                      <a:pt x="556" y="837"/>
                      <a:pt x="554" y="841"/>
                      <a:pt x="554" y="846"/>
                    </a:cubicBezTo>
                    <a:cubicBezTo>
                      <a:pt x="554" y="855"/>
                      <a:pt x="554" y="864"/>
                      <a:pt x="554" y="874"/>
                    </a:cubicBezTo>
                    <a:cubicBezTo>
                      <a:pt x="558" y="875"/>
                      <a:pt x="561" y="875"/>
                      <a:pt x="565" y="875"/>
                    </a:cubicBezTo>
                    <a:cubicBezTo>
                      <a:pt x="578" y="875"/>
                      <a:pt x="591" y="875"/>
                      <a:pt x="605" y="875"/>
                    </a:cubicBezTo>
                    <a:cubicBezTo>
                      <a:pt x="611" y="875"/>
                      <a:pt x="616" y="873"/>
                      <a:pt x="620" y="869"/>
                    </a:cubicBezTo>
                    <a:cubicBezTo>
                      <a:pt x="644" y="844"/>
                      <a:pt x="669" y="819"/>
                      <a:pt x="694" y="795"/>
                    </a:cubicBezTo>
                    <a:cubicBezTo>
                      <a:pt x="699" y="789"/>
                      <a:pt x="704" y="787"/>
                      <a:pt x="711" y="787"/>
                    </a:cubicBezTo>
                    <a:cubicBezTo>
                      <a:pt x="740" y="787"/>
                      <a:pt x="768" y="787"/>
                      <a:pt x="796" y="787"/>
                    </a:cubicBezTo>
                    <a:cubicBezTo>
                      <a:pt x="799" y="787"/>
                      <a:pt x="803" y="787"/>
                      <a:pt x="807" y="787"/>
                    </a:cubicBezTo>
                    <a:cubicBezTo>
                      <a:pt x="807" y="783"/>
                      <a:pt x="807" y="780"/>
                      <a:pt x="807" y="777"/>
                    </a:cubicBezTo>
                    <a:cubicBezTo>
                      <a:pt x="807" y="750"/>
                      <a:pt x="828" y="728"/>
                      <a:pt x="854" y="726"/>
                    </a:cubicBezTo>
                    <a:cubicBezTo>
                      <a:pt x="883" y="725"/>
                      <a:pt x="905" y="747"/>
                      <a:pt x="907" y="772"/>
                    </a:cubicBezTo>
                    <a:cubicBezTo>
                      <a:pt x="909" y="801"/>
                      <a:pt x="889" y="824"/>
                      <a:pt x="861" y="826"/>
                    </a:cubicBezTo>
                    <a:cubicBezTo>
                      <a:pt x="846" y="827"/>
                      <a:pt x="832" y="822"/>
                      <a:pt x="822" y="811"/>
                    </a:cubicBezTo>
                    <a:cubicBezTo>
                      <a:pt x="818" y="807"/>
                      <a:pt x="814" y="806"/>
                      <a:pt x="808" y="806"/>
                    </a:cubicBezTo>
                    <a:cubicBezTo>
                      <a:pt x="778" y="806"/>
                      <a:pt x="748" y="806"/>
                      <a:pt x="717" y="806"/>
                    </a:cubicBezTo>
                    <a:cubicBezTo>
                      <a:pt x="712" y="806"/>
                      <a:pt x="708" y="807"/>
                      <a:pt x="704" y="811"/>
                    </a:cubicBezTo>
                    <a:cubicBezTo>
                      <a:pt x="679" y="837"/>
                      <a:pt x="653" y="862"/>
                      <a:pt x="629" y="887"/>
                    </a:cubicBezTo>
                    <a:cubicBezTo>
                      <a:pt x="624" y="892"/>
                      <a:pt x="619" y="894"/>
                      <a:pt x="612" y="894"/>
                    </a:cubicBezTo>
                    <a:cubicBezTo>
                      <a:pt x="596" y="893"/>
                      <a:pt x="580" y="894"/>
                      <a:pt x="565" y="894"/>
                    </a:cubicBezTo>
                    <a:cubicBezTo>
                      <a:pt x="562" y="894"/>
                      <a:pt x="558" y="894"/>
                      <a:pt x="555" y="894"/>
                    </a:cubicBezTo>
                    <a:cubicBezTo>
                      <a:pt x="555" y="902"/>
                      <a:pt x="555" y="909"/>
                      <a:pt x="555" y="917"/>
                    </a:cubicBezTo>
                    <a:cubicBezTo>
                      <a:pt x="557" y="917"/>
                      <a:pt x="560" y="918"/>
                      <a:pt x="562" y="918"/>
                    </a:cubicBezTo>
                    <a:cubicBezTo>
                      <a:pt x="580" y="918"/>
                      <a:pt x="598" y="918"/>
                      <a:pt x="616" y="918"/>
                    </a:cubicBezTo>
                    <a:cubicBezTo>
                      <a:pt x="621" y="918"/>
                      <a:pt x="624" y="917"/>
                      <a:pt x="628" y="913"/>
                    </a:cubicBezTo>
                    <a:cubicBezTo>
                      <a:pt x="644" y="896"/>
                      <a:pt x="661" y="880"/>
                      <a:pt x="677" y="863"/>
                    </a:cubicBezTo>
                    <a:cubicBezTo>
                      <a:pt x="682" y="859"/>
                      <a:pt x="686" y="857"/>
                      <a:pt x="692" y="857"/>
                    </a:cubicBezTo>
                    <a:cubicBezTo>
                      <a:pt x="702" y="857"/>
                      <a:pt x="712" y="857"/>
                      <a:pt x="722" y="857"/>
                    </a:cubicBezTo>
                    <a:cubicBezTo>
                      <a:pt x="727" y="841"/>
                      <a:pt x="736" y="828"/>
                      <a:pt x="752" y="822"/>
                    </a:cubicBezTo>
                    <a:cubicBezTo>
                      <a:pt x="763" y="817"/>
                      <a:pt x="774" y="817"/>
                      <a:pt x="786" y="820"/>
                    </a:cubicBezTo>
                    <a:cubicBezTo>
                      <a:pt x="809" y="827"/>
                      <a:pt x="823" y="849"/>
                      <a:pt x="821" y="873"/>
                    </a:cubicBezTo>
                    <a:cubicBezTo>
                      <a:pt x="818" y="897"/>
                      <a:pt x="799" y="916"/>
                      <a:pt x="775" y="918"/>
                    </a:cubicBezTo>
                    <a:cubicBezTo>
                      <a:pt x="755" y="920"/>
                      <a:pt x="730" y="909"/>
                      <a:pt x="722" y="876"/>
                    </a:cubicBezTo>
                    <a:cubicBezTo>
                      <a:pt x="712" y="876"/>
                      <a:pt x="703" y="876"/>
                      <a:pt x="693" y="876"/>
                    </a:cubicBezTo>
                    <a:cubicBezTo>
                      <a:pt x="691" y="877"/>
                      <a:pt x="689" y="879"/>
                      <a:pt x="687" y="881"/>
                    </a:cubicBezTo>
                    <a:cubicBezTo>
                      <a:pt x="670" y="897"/>
                      <a:pt x="654" y="913"/>
                      <a:pt x="639" y="929"/>
                    </a:cubicBezTo>
                    <a:cubicBezTo>
                      <a:pt x="633" y="935"/>
                      <a:pt x="628" y="937"/>
                      <a:pt x="621" y="937"/>
                    </a:cubicBezTo>
                    <a:cubicBezTo>
                      <a:pt x="601" y="936"/>
                      <a:pt x="580" y="937"/>
                      <a:pt x="560" y="936"/>
                    </a:cubicBezTo>
                    <a:cubicBezTo>
                      <a:pt x="555" y="936"/>
                      <a:pt x="552" y="938"/>
                      <a:pt x="549" y="941"/>
                    </a:cubicBezTo>
                    <a:cubicBezTo>
                      <a:pt x="518" y="973"/>
                      <a:pt x="486" y="1004"/>
                      <a:pt x="455" y="1036"/>
                    </a:cubicBezTo>
                    <a:cubicBezTo>
                      <a:pt x="452" y="1038"/>
                      <a:pt x="450" y="1041"/>
                      <a:pt x="447" y="1043"/>
                    </a:cubicBezTo>
                    <a:cubicBezTo>
                      <a:pt x="448" y="1044"/>
                      <a:pt x="448" y="1044"/>
                      <a:pt x="448" y="1045"/>
                    </a:cubicBezTo>
                    <a:cubicBezTo>
                      <a:pt x="458" y="1045"/>
                      <a:pt x="468" y="1045"/>
                      <a:pt x="478" y="1045"/>
                    </a:cubicBezTo>
                    <a:cubicBezTo>
                      <a:pt x="481" y="1044"/>
                      <a:pt x="484" y="1041"/>
                      <a:pt x="486" y="1039"/>
                    </a:cubicBezTo>
                    <a:cubicBezTo>
                      <a:pt x="510" y="1015"/>
                      <a:pt x="535" y="991"/>
                      <a:pt x="559" y="966"/>
                    </a:cubicBezTo>
                    <a:cubicBezTo>
                      <a:pt x="564" y="961"/>
                      <a:pt x="570" y="958"/>
                      <a:pt x="578" y="958"/>
                    </a:cubicBezTo>
                    <a:cubicBezTo>
                      <a:pt x="601" y="959"/>
                      <a:pt x="624" y="959"/>
                      <a:pt x="648" y="959"/>
                    </a:cubicBezTo>
                    <a:cubicBezTo>
                      <a:pt x="648" y="955"/>
                      <a:pt x="649" y="953"/>
                      <a:pt x="650" y="950"/>
                    </a:cubicBezTo>
                    <a:cubicBezTo>
                      <a:pt x="654" y="924"/>
                      <a:pt x="678" y="907"/>
                      <a:pt x="704" y="909"/>
                    </a:cubicBezTo>
                    <a:cubicBezTo>
                      <a:pt x="730" y="912"/>
                      <a:pt x="750" y="935"/>
                      <a:pt x="749" y="961"/>
                    </a:cubicBezTo>
                    <a:cubicBezTo>
                      <a:pt x="748" y="988"/>
                      <a:pt x="727" y="1009"/>
                      <a:pt x="700" y="1009"/>
                    </a:cubicBezTo>
                    <a:cubicBezTo>
                      <a:pt x="681" y="1010"/>
                      <a:pt x="665" y="1001"/>
                      <a:pt x="656" y="984"/>
                    </a:cubicBezTo>
                    <a:cubicBezTo>
                      <a:pt x="653" y="979"/>
                      <a:pt x="650" y="977"/>
                      <a:pt x="644" y="977"/>
                    </a:cubicBezTo>
                    <a:cubicBezTo>
                      <a:pt x="623" y="978"/>
                      <a:pt x="603" y="977"/>
                      <a:pt x="582" y="977"/>
                    </a:cubicBezTo>
                    <a:cubicBezTo>
                      <a:pt x="577" y="977"/>
                      <a:pt x="573" y="979"/>
                      <a:pt x="569" y="983"/>
                    </a:cubicBezTo>
                    <a:cubicBezTo>
                      <a:pt x="545" y="1007"/>
                      <a:pt x="520" y="1032"/>
                      <a:pt x="496" y="1056"/>
                    </a:cubicBezTo>
                    <a:cubicBezTo>
                      <a:pt x="491" y="1062"/>
                      <a:pt x="485" y="1064"/>
                      <a:pt x="478" y="1064"/>
                    </a:cubicBezTo>
                    <a:cubicBezTo>
                      <a:pt x="463" y="1063"/>
                      <a:pt x="449" y="1064"/>
                      <a:pt x="434" y="1064"/>
                    </a:cubicBezTo>
                    <a:cubicBezTo>
                      <a:pt x="429" y="1064"/>
                      <a:pt x="425" y="1065"/>
                      <a:pt x="421" y="1069"/>
                    </a:cubicBezTo>
                    <a:cubicBezTo>
                      <a:pt x="372" y="1119"/>
                      <a:pt x="322" y="1168"/>
                      <a:pt x="273" y="1218"/>
                    </a:cubicBezTo>
                    <a:cubicBezTo>
                      <a:pt x="269" y="1221"/>
                      <a:pt x="267" y="1225"/>
                      <a:pt x="268" y="1230"/>
                    </a:cubicBezTo>
                    <a:cubicBezTo>
                      <a:pt x="268" y="1256"/>
                      <a:pt x="267" y="1281"/>
                      <a:pt x="268" y="1306"/>
                    </a:cubicBezTo>
                    <a:cubicBezTo>
                      <a:pt x="268" y="1315"/>
                      <a:pt x="265" y="1321"/>
                      <a:pt x="259" y="1327"/>
                    </a:cubicBezTo>
                    <a:cubicBezTo>
                      <a:pt x="234" y="1352"/>
                      <a:pt x="209" y="1377"/>
                      <a:pt x="185" y="1401"/>
                    </a:cubicBezTo>
                    <a:cubicBezTo>
                      <a:pt x="182" y="1404"/>
                      <a:pt x="180" y="1406"/>
                      <a:pt x="177" y="1410"/>
                    </a:cubicBezTo>
                    <a:cubicBezTo>
                      <a:pt x="181" y="1410"/>
                      <a:pt x="183" y="1410"/>
                      <a:pt x="186" y="1410"/>
                    </a:cubicBezTo>
                    <a:cubicBezTo>
                      <a:pt x="220" y="1410"/>
                      <a:pt x="255" y="1410"/>
                      <a:pt x="289" y="1410"/>
                    </a:cubicBezTo>
                    <a:cubicBezTo>
                      <a:pt x="295" y="1410"/>
                      <a:pt x="298" y="1409"/>
                      <a:pt x="302" y="1405"/>
                    </a:cubicBezTo>
                    <a:cubicBezTo>
                      <a:pt x="326" y="1381"/>
                      <a:pt x="350" y="1357"/>
                      <a:pt x="374" y="1333"/>
                    </a:cubicBezTo>
                    <a:cubicBezTo>
                      <a:pt x="377" y="1330"/>
                      <a:pt x="379" y="1327"/>
                      <a:pt x="379" y="1322"/>
                    </a:cubicBezTo>
                    <a:cubicBezTo>
                      <a:pt x="379" y="1309"/>
                      <a:pt x="379" y="1297"/>
                      <a:pt x="379" y="1285"/>
                    </a:cubicBezTo>
                    <a:cubicBezTo>
                      <a:pt x="372" y="1286"/>
                      <a:pt x="366" y="1287"/>
                      <a:pt x="359" y="1287"/>
                    </a:cubicBezTo>
                    <a:cubicBezTo>
                      <a:pt x="336" y="1287"/>
                      <a:pt x="317" y="1272"/>
                      <a:pt x="311" y="1250"/>
                    </a:cubicBezTo>
                    <a:cubicBezTo>
                      <a:pt x="305" y="1228"/>
                      <a:pt x="316" y="1204"/>
                      <a:pt x="336" y="1193"/>
                    </a:cubicBezTo>
                    <a:cubicBezTo>
                      <a:pt x="356" y="1183"/>
                      <a:pt x="380" y="1187"/>
                      <a:pt x="396" y="1203"/>
                    </a:cubicBezTo>
                    <a:cubicBezTo>
                      <a:pt x="412" y="1219"/>
                      <a:pt x="415" y="1245"/>
                      <a:pt x="402" y="1264"/>
                    </a:cubicBezTo>
                    <a:cubicBezTo>
                      <a:pt x="398" y="1269"/>
                      <a:pt x="398" y="1274"/>
                      <a:pt x="398" y="1280"/>
                    </a:cubicBezTo>
                    <a:cubicBezTo>
                      <a:pt x="398" y="1296"/>
                      <a:pt x="398" y="1312"/>
                      <a:pt x="398" y="1329"/>
                    </a:cubicBezTo>
                    <a:cubicBezTo>
                      <a:pt x="398" y="1334"/>
                      <a:pt x="396" y="1338"/>
                      <a:pt x="393" y="1341"/>
                    </a:cubicBezTo>
                    <a:cubicBezTo>
                      <a:pt x="365" y="1369"/>
                      <a:pt x="338" y="1396"/>
                      <a:pt x="311" y="1424"/>
                    </a:cubicBezTo>
                    <a:cubicBezTo>
                      <a:pt x="306" y="1428"/>
                      <a:pt x="301" y="1429"/>
                      <a:pt x="295" y="1429"/>
                    </a:cubicBezTo>
                    <a:cubicBezTo>
                      <a:pt x="253" y="1429"/>
                      <a:pt x="210" y="1430"/>
                      <a:pt x="168" y="1429"/>
                    </a:cubicBezTo>
                    <a:cubicBezTo>
                      <a:pt x="157" y="1429"/>
                      <a:pt x="151" y="1433"/>
                      <a:pt x="145" y="1442"/>
                    </a:cubicBezTo>
                    <a:cubicBezTo>
                      <a:pt x="149" y="1442"/>
                      <a:pt x="151" y="1442"/>
                      <a:pt x="154" y="1442"/>
                    </a:cubicBezTo>
                    <a:cubicBezTo>
                      <a:pt x="204" y="1443"/>
                      <a:pt x="255" y="1442"/>
                      <a:pt x="306" y="1443"/>
                    </a:cubicBezTo>
                    <a:cubicBezTo>
                      <a:pt x="311" y="1443"/>
                      <a:pt x="315" y="1442"/>
                      <a:pt x="319" y="1438"/>
                    </a:cubicBezTo>
                    <a:cubicBezTo>
                      <a:pt x="367" y="1389"/>
                      <a:pt x="415" y="1341"/>
                      <a:pt x="463" y="1293"/>
                    </a:cubicBezTo>
                    <a:cubicBezTo>
                      <a:pt x="464" y="1291"/>
                      <a:pt x="466" y="1290"/>
                      <a:pt x="467" y="1289"/>
                    </a:cubicBezTo>
                    <a:cubicBezTo>
                      <a:pt x="454" y="1258"/>
                      <a:pt x="459" y="1233"/>
                      <a:pt x="482" y="1219"/>
                    </a:cubicBezTo>
                    <a:cubicBezTo>
                      <a:pt x="502" y="1206"/>
                      <a:pt x="529" y="1209"/>
                      <a:pt x="546" y="1227"/>
                    </a:cubicBezTo>
                    <a:cubicBezTo>
                      <a:pt x="562" y="1244"/>
                      <a:pt x="564" y="1271"/>
                      <a:pt x="550" y="1290"/>
                    </a:cubicBezTo>
                    <a:cubicBezTo>
                      <a:pt x="534" y="1312"/>
                      <a:pt x="509" y="1317"/>
                      <a:pt x="481" y="1303"/>
                    </a:cubicBezTo>
                    <a:cubicBezTo>
                      <a:pt x="478" y="1305"/>
                      <a:pt x="476" y="1307"/>
                      <a:pt x="473" y="1310"/>
                    </a:cubicBezTo>
                    <a:cubicBezTo>
                      <a:pt x="426" y="1357"/>
                      <a:pt x="378" y="1405"/>
                      <a:pt x="331" y="1453"/>
                    </a:cubicBezTo>
                    <a:cubicBezTo>
                      <a:pt x="325" y="1459"/>
                      <a:pt x="318" y="1462"/>
                      <a:pt x="309" y="1462"/>
                    </a:cubicBezTo>
                    <a:cubicBezTo>
                      <a:pt x="251" y="1461"/>
                      <a:pt x="192" y="1462"/>
                      <a:pt x="134" y="1461"/>
                    </a:cubicBezTo>
                    <a:cubicBezTo>
                      <a:pt x="127" y="1461"/>
                      <a:pt x="122" y="1463"/>
                      <a:pt x="118" y="1468"/>
                    </a:cubicBezTo>
                    <a:cubicBezTo>
                      <a:pt x="94" y="1492"/>
                      <a:pt x="70" y="1517"/>
                      <a:pt x="45" y="1541"/>
                    </a:cubicBezTo>
                    <a:cubicBezTo>
                      <a:pt x="39" y="1546"/>
                      <a:pt x="37" y="1552"/>
                      <a:pt x="37" y="1560"/>
                    </a:cubicBezTo>
                    <a:cubicBezTo>
                      <a:pt x="37" y="1914"/>
                      <a:pt x="37" y="2268"/>
                      <a:pt x="37" y="2622"/>
                    </a:cubicBezTo>
                    <a:cubicBezTo>
                      <a:pt x="37" y="2636"/>
                      <a:pt x="38" y="2650"/>
                      <a:pt x="37" y="2665"/>
                    </a:cubicBezTo>
                    <a:cubicBezTo>
                      <a:pt x="37" y="2672"/>
                      <a:pt x="39" y="2677"/>
                      <a:pt x="44" y="2682"/>
                    </a:cubicBezTo>
                    <a:cubicBezTo>
                      <a:pt x="90" y="2727"/>
                      <a:pt x="136" y="2773"/>
                      <a:pt x="182" y="2819"/>
                    </a:cubicBezTo>
                    <a:cubicBezTo>
                      <a:pt x="189" y="2826"/>
                      <a:pt x="192" y="2833"/>
                      <a:pt x="192" y="2843"/>
                    </a:cubicBezTo>
                    <a:cubicBezTo>
                      <a:pt x="191" y="2861"/>
                      <a:pt x="192" y="2879"/>
                      <a:pt x="191" y="2898"/>
                    </a:cubicBezTo>
                    <a:cubicBezTo>
                      <a:pt x="191" y="2904"/>
                      <a:pt x="193" y="2907"/>
                      <a:pt x="198" y="2911"/>
                    </a:cubicBezTo>
                    <a:cubicBezTo>
                      <a:pt x="208" y="2916"/>
                      <a:pt x="212" y="2924"/>
                      <a:pt x="212" y="2935"/>
                    </a:cubicBezTo>
                    <a:cubicBezTo>
                      <a:pt x="212" y="3016"/>
                      <a:pt x="212" y="3097"/>
                      <a:pt x="212" y="3178"/>
                    </a:cubicBezTo>
                    <a:cubicBezTo>
                      <a:pt x="212" y="3180"/>
                      <a:pt x="212" y="3183"/>
                      <a:pt x="211" y="3185"/>
                    </a:cubicBezTo>
                    <a:cubicBezTo>
                      <a:pt x="187" y="3185"/>
                      <a:pt x="163" y="3185"/>
                      <a:pt x="138" y="3185"/>
                    </a:cubicBezTo>
                    <a:cubicBezTo>
                      <a:pt x="138" y="3184"/>
                      <a:pt x="137" y="3181"/>
                      <a:pt x="137" y="3179"/>
                    </a:cubicBezTo>
                    <a:cubicBezTo>
                      <a:pt x="137" y="3098"/>
                      <a:pt x="137" y="3017"/>
                      <a:pt x="137" y="2935"/>
                    </a:cubicBezTo>
                    <a:cubicBezTo>
                      <a:pt x="137" y="2926"/>
                      <a:pt x="140" y="2918"/>
                      <a:pt x="148" y="2912"/>
                    </a:cubicBezTo>
                    <a:cubicBezTo>
                      <a:pt x="153" y="2909"/>
                      <a:pt x="154" y="2905"/>
                      <a:pt x="154" y="2899"/>
                    </a:cubicBezTo>
                    <a:cubicBezTo>
                      <a:pt x="154" y="2884"/>
                      <a:pt x="154" y="2869"/>
                      <a:pt x="154" y="2853"/>
                    </a:cubicBezTo>
                    <a:cubicBezTo>
                      <a:pt x="154" y="2847"/>
                      <a:pt x="152" y="2843"/>
                      <a:pt x="148" y="2838"/>
                    </a:cubicBezTo>
                    <a:cubicBezTo>
                      <a:pt x="102" y="2793"/>
                      <a:pt x="57" y="2747"/>
                      <a:pt x="11" y="2702"/>
                    </a:cubicBezTo>
                    <a:cubicBezTo>
                      <a:pt x="10" y="2700"/>
                      <a:pt x="8" y="2698"/>
                      <a:pt x="6" y="2697"/>
                    </a:cubicBezTo>
                    <a:cubicBezTo>
                      <a:pt x="2" y="2693"/>
                      <a:pt x="0" y="2688"/>
                      <a:pt x="0" y="2683"/>
                    </a:cubicBezTo>
                    <a:cubicBezTo>
                      <a:pt x="0" y="2679"/>
                      <a:pt x="0" y="2676"/>
                      <a:pt x="0" y="2672"/>
                    </a:cubicBezTo>
                    <a:cubicBezTo>
                      <a:pt x="0" y="2299"/>
                      <a:pt x="0" y="1925"/>
                      <a:pt x="0" y="1551"/>
                    </a:cubicBezTo>
                    <a:cubicBezTo>
                      <a:pt x="0" y="1548"/>
                      <a:pt x="0" y="1545"/>
                      <a:pt x="0" y="1542"/>
                    </a:cubicBezTo>
                    <a:cubicBezTo>
                      <a:pt x="0" y="1536"/>
                      <a:pt x="2" y="1530"/>
                      <a:pt x="7" y="1525"/>
                    </a:cubicBezTo>
                    <a:cubicBezTo>
                      <a:pt x="15" y="1518"/>
                      <a:pt x="23" y="1510"/>
                      <a:pt x="30" y="1502"/>
                    </a:cubicBezTo>
                    <a:cubicBezTo>
                      <a:pt x="95" y="1438"/>
                      <a:pt x="159" y="1374"/>
                      <a:pt x="223" y="1310"/>
                    </a:cubicBezTo>
                    <a:cubicBezTo>
                      <a:pt x="228" y="1305"/>
                      <a:pt x="230" y="1300"/>
                      <a:pt x="230" y="1293"/>
                    </a:cubicBezTo>
                    <a:cubicBezTo>
                      <a:pt x="230" y="1269"/>
                      <a:pt x="230" y="1245"/>
                      <a:pt x="230" y="1221"/>
                    </a:cubicBezTo>
                    <a:cubicBezTo>
                      <a:pt x="230" y="1211"/>
                      <a:pt x="233" y="1204"/>
                      <a:pt x="240" y="1197"/>
                    </a:cubicBezTo>
                    <a:cubicBezTo>
                      <a:pt x="330" y="1108"/>
                      <a:pt x="419" y="1018"/>
                      <a:pt x="509" y="929"/>
                    </a:cubicBezTo>
                    <a:cubicBezTo>
                      <a:pt x="514" y="923"/>
                      <a:pt x="517" y="918"/>
                      <a:pt x="517" y="909"/>
                    </a:cubicBezTo>
                    <a:cubicBezTo>
                      <a:pt x="517" y="795"/>
                      <a:pt x="517" y="680"/>
                      <a:pt x="517" y="565"/>
                    </a:cubicBezTo>
                    <a:cubicBezTo>
                      <a:pt x="517" y="561"/>
                      <a:pt x="517" y="557"/>
                      <a:pt x="517" y="552"/>
                    </a:cubicBezTo>
                    <a:cubicBezTo>
                      <a:pt x="489" y="549"/>
                      <a:pt x="467" y="538"/>
                      <a:pt x="451" y="516"/>
                    </a:cubicBezTo>
                    <a:cubicBezTo>
                      <a:pt x="438" y="499"/>
                      <a:pt x="433" y="479"/>
                      <a:pt x="435" y="458"/>
                    </a:cubicBezTo>
                    <a:cubicBezTo>
                      <a:pt x="438" y="420"/>
                      <a:pt x="467" y="383"/>
                      <a:pt x="517" y="378"/>
                    </a:cubicBezTo>
                    <a:cubicBezTo>
                      <a:pt x="517" y="375"/>
                      <a:pt x="518" y="371"/>
                      <a:pt x="518" y="368"/>
                    </a:cubicBezTo>
                    <a:cubicBezTo>
                      <a:pt x="518" y="324"/>
                      <a:pt x="518" y="281"/>
                      <a:pt x="518" y="238"/>
                    </a:cubicBezTo>
                    <a:cubicBezTo>
                      <a:pt x="518" y="230"/>
                      <a:pt x="520" y="224"/>
                      <a:pt x="526" y="218"/>
                    </a:cubicBezTo>
                    <a:cubicBezTo>
                      <a:pt x="574" y="170"/>
                      <a:pt x="621" y="123"/>
                      <a:pt x="669" y="75"/>
                    </a:cubicBezTo>
                    <a:cubicBezTo>
                      <a:pt x="674" y="71"/>
                      <a:pt x="675" y="67"/>
                      <a:pt x="674" y="60"/>
                    </a:cubicBezTo>
                    <a:cubicBezTo>
                      <a:pt x="670" y="33"/>
                      <a:pt x="689" y="8"/>
                      <a:pt x="717" y="4"/>
                    </a:cubicBezTo>
                    <a:cubicBezTo>
                      <a:pt x="744" y="0"/>
                      <a:pt x="769" y="19"/>
                      <a:pt x="773" y="47"/>
                    </a:cubicBezTo>
                    <a:cubicBezTo>
                      <a:pt x="777" y="73"/>
                      <a:pt x="759" y="98"/>
                      <a:pt x="733" y="103"/>
                    </a:cubicBezTo>
                    <a:cubicBezTo>
                      <a:pt x="717" y="106"/>
                      <a:pt x="703" y="102"/>
                      <a:pt x="691" y="91"/>
                    </a:cubicBezTo>
                    <a:cubicBezTo>
                      <a:pt x="689" y="90"/>
                      <a:pt x="688" y="88"/>
                      <a:pt x="685" y="86"/>
                    </a:cubicBezTo>
                    <a:cubicBezTo>
                      <a:pt x="683" y="88"/>
                      <a:pt x="681" y="90"/>
                      <a:pt x="680" y="91"/>
                    </a:cubicBezTo>
                    <a:cubicBezTo>
                      <a:pt x="634" y="137"/>
                      <a:pt x="588" y="183"/>
                      <a:pt x="543" y="228"/>
                    </a:cubicBezTo>
                    <a:cubicBezTo>
                      <a:pt x="539" y="232"/>
                      <a:pt x="537" y="235"/>
                      <a:pt x="537" y="241"/>
                    </a:cubicBezTo>
                    <a:cubicBezTo>
                      <a:pt x="537" y="285"/>
                      <a:pt x="537" y="330"/>
                      <a:pt x="537" y="374"/>
                    </a:cubicBezTo>
                    <a:cubicBezTo>
                      <a:pt x="537" y="376"/>
                      <a:pt x="537" y="377"/>
                      <a:pt x="537" y="379"/>
                    </a:cubicBezTo>
                    <a:cubicBezTo>
                      <a:pt x="578" y="391"/>
                      <a:pt x="604" y="416"/>
                      <a:pt x="607" y="460"/>
                    </a:cubicBezTo>
                    <a:cubicBezTo>
                      <a:pt x="610" y="500"/>
                      <a:pt x="590" y="528"/>
                      <a:pt x="555" y="546"/>
                    </a:cubicBezTo>
                    <a:cubicBezTo>
                      <a:pt x="555" y="629"/>
                      <a:pt x="555" y="712"/>
                      <a:pt x="555" y="798"/>
                    </a:cubicBezTo>
                    <a:cubicBezTo>
                      <a:pt x="562" y="791"/>
                      <a:pt x="568" y="785"/>
                      <a:pt x="574" y="779"/>
                    </a:cubicBezTo>
                    <a:cubicBezTo>
                      <a:pt x="575" y="777"/>
                      <a:pt x="575" y="773"/>
                      <a:pt x="575" y="769"/>
                    </a:cubicBezTo>
                    <a:cubicBezTo>
                      <a:pt x="575" y="746"/>
                      <a:pt x="575" y="723"/>
                      <a:pt x="575" y="700"/>
                    </a:cubicBezTo>
                    <a:cubicBezTo>
                      <a:pt x="575" y="663"/>
                      <a:pt x="575" y="625"/>
                      <a:pt x="575" y="588"/>
                    </a:cubicBezTo>
                    <a:cubicBezTo>
                      <a:pt x="575" y="580"/>
                      <a:pt x="577" y="574"/>
                      <a:pt x="583" y="569"/>
                    </a:cubicBezTo>
                    <a:cubicBezTo>
                      <a:pt x="595" y="557"/>
                      <a:pt x="607" y="545"/>
                      <a:pt x="619" y="533"/>
                    </a:cubicBezTo>
                    <a:cubicBezTo>
                      <a:pt x="623" y="529"/>
                      <a:pt x="624" y="525"/>
                      <a:pt x="624" y="520"/>
                    </a:cubicBezTo>
                    <a:cubicBezTo>
                      <a:pt x="624" y="485"/>
                      <a:pt x="624" y="449"/>
                      <a:pt x="624" y="414"/>
                    </a:cubicBezTo>
                    <a:cubicBezTo>
                      <a:pt x="624" y="409"/>
                      <a:pt x="623" y="405"/>
                      <a:pt x="620" y="402"/>
                    </a:cubicBezTo>
                    <a:cubicBezTo>
                      <a:pt x="602" y="385"/>
                      <a:pt x="585" y="367"/>
                      <a:pt x="567" y="350"/>
                    </a:cubicBezTo>
                    <a:cubicBezTo>
                      <a:pt x="562" y="345"/>
                      <a:pt x="559" y="339"/>
                      <a:pt x="560" y="332"/>
                    </a:cubicBezTo>
                    <a:cubicBezTo>
                      <a:pt x="560" y="325"/>
                      <a:pt x="560" y="318"/>
                      <a:pt x="560" y="311"/>
                    </a:cubicBezTo>
                    <a:cubicBezTo>
                      <a:pt x="560" y="305"/>
                      <a:pt x="562" y="301"/>
                      <a:pt x="566" y="297"/>
                    </a:cubicBezTo>
                    <a:cubicBezTo>
                      <a:pt x="575" y="289"/>
                      <a:pt x="583" y="280"/>
                      <a:pt x="593" y="271"/>
                    </a:cubicBezTo>
                    <a:cubicBezTo>
                      <a:pt x="585" y="255"/>
                      <a:pt x="583" y="240"/>
                      <a:pt x="590" y="224"/>
                    </a:cubicBezTo>
                    <a:cubicBezTo>
                      <a:pt x="594" y="213"/>
                      <a:pt x="602" y="205"/>
                      <a:pt x="612" y="199"/>
                    </a:cubicBezTo>
                    <a:cubicBezTo>
                      <a:pt x="633" y="189"/>
                      <a:pt x="659" y="194"/>
                      <a:pt x="674" y="211"/>
                    </a:cubicBezTo>
                    <a:cubicBezTo>
                      <a:pt x="689" y="229"/>
                      <a:pt x="690" y="255"/>
                      <a:pt x="676" y="274"/>
                    </a:cubicBezTo>
                    <a:cubicBezTo>
                      <a:pt x="659" y="295"/>
                      <a:pt x="637" y="299"/>
                      <a:pt x="605" y="285"/>
                    </a:cubicBezTo>
                    <a:cubicBezTo>
                      <a:pt x="597" y="293"/>
                      <a:pt x="589" y="301"/>
                      <a:pt x="581" y="309"/>
                    </a:cubicBezTo>
                    <a:cubicBezTo>
                      <a:pt x="580" y="310"/>
                      <a:pt x="579" y="313"/>
                      <a:pt x="579" y="315"/>
                    </a:cubicBezTo>
                    <a:cubicBezTo>
                      <a:pt x="577" y="333"/>
                      <a:pt x="577" y="333"/>
                      <a:pt x="590" y="346"/>
                    </a:cubicBezTo>
                    <a:cubicBezTo>
                      <a:pt x="606" y="361"/>
                      <a:pt x="621" y="377"/>
                      <a:pt x="637" y="392"/>
                    </a:cubicBezTo>
                    <a:cubicBezTo>
                      <a:pt x="641" y="397"/>
                      <a:pt x="643" y="401"/>
                      <a:pt x="643" y="408"/>
                    </a:cubicBezTo>
                    <a:cubicBezTo>
                      <a:pt x="643" y="447"/>
                      <a:pt x="643" y="487"/>
                      <a:pt x="643" y="526"/>
                    </a:cubicBezTo>
                    <a:cubicBezTo>
                      <a:pt x="643" y="533"/>
                      <a:pt x="641" y="538"/>
                      <a:pt x="636" y="542"/>
                    </a:cubicBezTo>
                    <a:cubicBezTo>
                      <a:pt x="624" y="554"/>
                      <a:pt x="612" y="567"/>
                      <a:pt x="599" y="579"/>
                    </a:cubicBezTo>
                    <a:cubicBezTo>
                      <a:pt x="596" y="582"/>
                      <a:pt x="594" y="586"/>
                      <a:pt x="594" y="590"/>
                    </a:cubicBezTo>
                    <a:cubicBezTo>
                      <a:pt x="594" y="645"/>
                      <a:pt x="594" y="699"/>
                      <a:pt x="594" y="753"/>
                    </a:cubicBezTo>
                    <a:cubicBezTo>
                      <a:pt x="594" y="754"/>
                      <a:pt x="594" y="755"/>
                      <a:pt x="595" y="756"/>
                    </a:cubicBezTo>
                    <a:cubicBezTo>
                      <a:pt x="598" y="756"/>
                      <a:pt x="600" y="753"/>
                      <a:pt x="602" y="751"/>
                    </a:cubicBezTo>
                    <a:cubicBezTo>
                      <a:pt x="624" y="728"/>
                      <a:pt x="647" y="706"/>
                      <a:pt x="669" y="684"/>
                    </a:cubicBezTo>
                    <a:cubicBezTo>
                      <a:pt x="675" y="678"/>
                      <a:pt x="677" y="673"/>
                      <a:pt x="677" y="665"/>
                    </a:cubicBezTo>
                    <a:cubicBezTo>
                      <a:pt x="677" y="568"/>
                      <a:pt x="677" y="470"/>
                      <a:pt x="677" y="373"/>
                    </a:cubicBezTo>
                    <a:cubicBezTo>
                      <a:pt x="677" y="361"/>
                      <a:pt x="680" y="353"/>
                      <a:pt x="688" y="345"/>
                    </a:cubicBezTo>
                    <a:cubicBezTo>
                      <a:pt x="723" y="310"/>
                      <a:pt x="758" y="275"/>
                      <a:pt x="793" y="240"/>
                    </a:cubicBezTo>
                    <a:cubicBezTo>
                      <a:pt x="795" y="238"/>
                      <a:pt x="798" y="236"/>
                      <a:pt x="801" y="234"/>
                    </a:cubicBezTo>
                    <a:close/>
                    <a:moveTo>
                      <a:pt x="928" y="197"/>
                    </a:moveTo>
                    <a:cubicBezTo>
                      <a:pt x="928" y="167"/>
                      <a:pt x="904" y="143"/>
                      <a:pt x="875" y="143"/>
                    </a:cubicBezTo>
                    <a:cubicBezTo>
                      <a:pt x="846" y="143"/>
                      <a:pt x="821" y="168"/>
                      <a:pt x="821" y="197"/>
                    </a:cubicBezTo>
                    <a:cubicBezTo>
                      <a:pt x="821" y="226"/>
                      <a:pt x="845" y="251"/>
                      <a:pt x="875" y="251"/>
                    </a:cubicBezTo>
                    <a:cubicBezTo>
                      <a:pt x="905" y="251"/>
                      <a:pt x="928" y="227"/>
                      <a:pt x="928" y="197"/>
                    </a:cubicBezTo>
                    <a:close/>
                    <a:moveTo>
                      <a:pt x="521" y="514"/>
                    </a:moveTo>
                    <a:cubicBezTo>
                      <a:pt x="548" y="514"/>
                      <a:pt x="570" y="493"/>
                      <a:pt x="570" y="466"/>
                    </a:cubicBezTo>
                    <a:cubicBezTo>
                      <a:pt x="571" y="439"/>
                      <a:pt x="548" y="416"/>
                      <a:pt x="521" y="416"/>
                    </a:cubicBezTo>
                    <a:cubicBezTo>
                      <a:pt x="494" y="416"/>
                      <a:pt x="472" y="438"/>
                      <a:pt x="472" y="465"/>
                    </a:cubicBezTo>
                    <a:cubicBezTo>
                      <a:pt x="472" y="492"/>
                      <a:pt x="494" y="514"/>
                      <a:pt x="521" y="514"/>
                    </a:cubicBezTo>
                    <a:close/>
                    <a:moveTo>
                      <a:pt x="949" y="553"/>
                    </a:moveTo>
                    <a:cubicBezTo>
                      <a:pt x="949" y="531"/>
                      <a:pt x="932" y="512"/>
                      <a:pt x="909" y="512"/>
                    </a:cubicBezTo>
                    <a:cubicBezTo>
                      <a:pt x="888" y="512"/>
                      <a:pt x="869" y="531"/>
                      <a:pt x="869" y="552"/>
                    </a:cubicBezTo>
                    <a:cubicBezTo>
                      <a:pt x="869" y="574"/>
                      <a:pt x="887" y="592"/>
                      <a:pt x="908" y="592"/>
                    </a:cubicBezTo>
                    <a:cubicBezTo>
                      <a:pt x="931" y="593"/>
                      <a:pt x="949" y="575"/>
                      <a:pt x="949" y="553"/>
                    </a:cubicBezTo>
                    <a:close/>
                    <a:moveTo>
                      <a:pt x="723" y="85"/>
                    </a:moveTo>
                    <a:cubicBezTo>
                      <a:pt x="740" y="85"/>
                      <a:pt x="755" y="71"/>
                      <a:pt x="755" y="54"/>
                    </a:cubicBezTo>
                    <a:cubicBezTo>
                      <a:pt x="755" y="37"/>
                      <a:pt x="740" y="22"/>
                      <a:pt x="723" y="22"/>
                    </a:cubicBezTo>
                    <a:cubicBezTo>
                      <a:pt x="707" y="22"/>
                      <a:pt x="692" y="37"/>
                      <a:pt x="692" y="54"/>
                    </a:cubicBezTo>
                    <a:cubicBezTo>
                      <a:pt x="692" y="71"/>
                      <a:pt x="707" y="85"/>
                      <a:pt x="723" y="85"/>
                    </a:cubicBezTo>
                    <a:close/>
                    <a:moveTo>
                      <a:pt x="699" y="990"/>
                    </a:moveTo>
                    <a:cubicBezTo>
                      <a:pt x="716" y="990"/>
                      <a:pt x="730" y="977"/>
                      <a:pt x="730" y="960"/>
                    </a:cubicBezTo>
                    <a:cubicBezTo>
                      <a:pt x="730" y="943"/>
                      <a:pt x="716" y="928"/>
                      <a:pt x="699" y="928"/>
                    </a:cubicBezTo>
                    <a:cubicBezTo>
                      <a:pt x="682" y="928"/>
                      <a:pt x="667" y="942"/>
                      <a:pt x="667" y="959"/>
                    </a:cubicBezTo>
                    <a:cubicBezTo>
                      <a:pt x="667" y="976"/>
                      <a:pt x="681" y="990"/>
                      <a:pt x="699" y="990"/>
                    </a:cubicBezTo>
                    <a:close/>
                    <a:moveTo>
                      <a:pt x="667" y="244"/>
                    </a:moveTo>
                    <a:cubicBezTo>
                      <a:pt x="667" y="227"/>
                      <a:pt x="652" y="212"/>
                      <a:pt x="636" y="213"/>
                    </a:cubicBezTo>
                    <a:cubicBezTo>
                      <a:pt x="619" y="213"/>
                      <a:pt x="605" y="227"/>
                      <a:pt x="604" y="244"/>
                    </a:cubicBezTo>
                    <a:cubicBezTo>
                      <a:pt x="604" y="261"/>
                      <a:pt x="619" y="276"/>
                      <a:pt x="636" y="275"/>
                    </a:cubicBezTo>
                    <a:cubicBezTo>
                      <a:pt x="653" y="275"/>
                      <a:pt x="667" y="260"/>
                      <a:pt x="667" y="244"/>
                    </a:cubicBezTo>
                    <a:close/>
                    <a:moveTo>
                      <a:pt x="857" y="745"/>
                    </a:moveTo>
                    <a:cubicBezTo>
                      <a:pt x="839" y="745"/>
                      <a:pt x="826" y="759"/>
                      <a:pt x="826" y="776"/>
                    </a:cubicBezTo>
                    <a:cubicBezTo>
                      <a:pt x="826" y="794"/>
                      <a:pt x="840" y="807"/>
                      <a:pt x="857" y="807"/>
                    </a:cubicBezTo>
                    <a:cubicBezTo>
                      <a:pt x="874" y="807"/>
                      <a:pt x="888" y="793"/>
                      <a:pt x="888" y="776"/>
                    </a:cubicBezTo>
                    <a:cubicBezTo>
                      <a:pt x="888" y="759"/>
                      <a:pt x="874" y="745"/>
                      <a:pt x="857" y="745"/>
                    </a:cubicBezTo>
                    <a:close/>
                    <a:moveTo>
                      <a:pt x="478" y="1261"/>
                    </a:moveTo>
                    <a:cubicBezTo>
                      <a:pt x="478" y="1278"/>
                      <a:pt x="492" y="1292"/>
                      <a:pt x="509" y="1292"/>
                    </a:cubicBezTo>
                    <a:cubicBezTo>
                      <a:pt x="526" y="1292"/>
                      <a:pt x="540" y="1279"/>
                      <a:pt x="540" y="1262"/>
                    </a:cubicBezTo>
                    <a:cubicBezTo>
                      <a:pt x="541" y="1244"/>
                      <a:pt x="527" y="1230"/>
                      <a:pt x="509" y="1230"/>
                    </a:cubicBezTo>
                    <a:cubicBezTo>
                      <a:pt x="492" y="1230"/>
                      <a:pt x="478" y="1243"/>
                      <a:pt x="478" y="1261"/>
                    </a:cubicBezTo>
                    <a:close/>
                    <a:moveTo>
                      <a:pt x="802" y="868"/>
                    </a:moveTo>
                    <a:cubicBezTo>
                      <a:pt x="803" y="852"/>
                      <a:pt x="789" y="837"/>
                      <a:pt x="772" y="837"/>
                    </a:cubicBezTo>
                    <a:cubicBezTo>
                      <a:pt x="755" y="836"/>
                      <a:pt x="740" y="850"/>
                      <a:pt x="740" y="867"/>
                    </a:cubicBezTo>
                    <a:cubicBezTo>
                      <a:pt x="740" y="885"/>
                      <a:pt x="754" y="899"/>
                      <a:pt x="771" y="899"/>
                    </a:cubicBezTo>
                    <a:cubicBezTo>
                      <a:pt x="788" y="899"/>
                      <a:pt x="802" y="885"/>
                      <a:pt x="802" y="868"/>
                    </a:cubicBezTo>
                    <a:close/>
                    <a:moveTo>
                      <a:pt x="391" y="1238"/>
                    </a:moveTo>
                    <a:cubicBezTo>
                      <a:pt x="391" y="1221"/>
                      <a:pt x="377" y="1207"/>
                      <a:pt x="360" y="1206"/>
                    </a:cubicBezTo>
                    <a:cubicBezTo>
                      <a:pt x="343" y="1206"/>
                      <a:pt x="329" y="1220"/>
                      <a:pt x="329" y="1237"/>
                    </a:cubicBezTo>
                    <a:cubicBezTo>
                      <a:pt x="328" y="1255"/>
                      <a:pt x="342" y="1268"/>
                      <a:pt x="359" y="1268"/>
                    </a:cubicBezTo>
                    <a:cubicBezTo>
                      <a:pt x="377" y="1269"/>
                      <a:pt x="391" y="1255"/>
                      <a:pt x="391" y="1238"/>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sz="1200"/>
              </a:p>
            </p:txBody>
          </p:sp>
          <p:sp>
            <p:nvSpPr>
              <p:cNvPr id="148" name="Freeform 7"/>
              <p:cNvSpPr>
                <a:spLocks noEditPoints="1"/>
              </p:cNvSpPr>
              <p:nvPr/>
            </p:nvSpPr>
            <p:spPr bwMode="auto">
              <a:xfrm>
                <a:off x="3275012" y="3611563"/>
                <a:ext cx="654050" cy="1966913"/>
              </a:xfrm>
              <a:custGeom>
                <a:avLst/>
                <a:gdLst>
                  <a:gd name="T0" fmla="*/ 288 w 964"/>
                  <a:gd name="T1" fmla="*/ 754 h 2896"/>
                  <a:gd name="T2" fmla="*/ 418 w 964"/>
                  <a:gd name="T3" fmla="*/ 865 h 2896"/>
                  <a:gd name="T4" fmla="*/ 663 w 964"/>
                  <a:gd name="T5" fmla="*/ 1011 h 2896"/>
                  <a:gd name="T6" fmla="*/ 569 w 964"/>
                  <a:gd name="T7" fmla="*/ 906 h 2896"/>
                  <a:gd name="T8" fmla="*/ 552 w 964"/>
                  <a:gd name="T9" fmla="*/ 738 h 2896"/>
                  <a:gd name="T10" fmla="*/ 268 w 964"/>
                  <a:gd name="T11" fmla="*/ 614 h 2896"/>
                  <a:gd name="T12" fmla="*/ 138 w 964"/>
                  <a:gd name="T13" fmla="*/ 500 h 2896"/>
                  <a:gd name="T14" fmla="*/ 43 w 964"/>
                  <a:gd name="T15" fmla="*/ 355 h 2896"/>
                  <a:gd name="T16" fmla="*/ 171 w 964"/>
                  <a:gd name="T17" fmla="*/ 482 h 2896"/>
                  <a:gd name="T18" fmla="*/ 425 w 964"/>
                  <a:gd name="T19" fmla="*/ 576 h 2896"/>
                  <a:gd name="T20" fmla="*/ 454 w 964"/>
                  <a:gd name="T21" fmla="*/ 467 h 2896"/>
                  <a:gd name="T22" fmla="*/ 324 w 964"/>
                  <a:gd name="T23" fmla="*/ 338 h 2896"/>
                  <a:gd name="T24" fmla="*/ 84 w 964"/>
                  <a:gd name="T25" fmla="*/ 196 h 2896"/>
                  <a:gd name="T26" fmla="*/ 17 w 964"/>
                  <a:gd name="T27" fmla="*/ 125 h 2896"/>
                  <a:gd name="T28" fmla="*/ 167 w 964"/>
                  <a:gd name="T29" fmla="*/ 67 h 2896"/>
                  <a:gd name="T30" fmla="*/ 96 w 964"/>
                  <a:gd name="T31" fmla="*/ 175 h 2896"/>
                  <a:gd name="T32" fmla="*/ 227 w 964"/>
                  <a:gd name="T33" fmla="*/ 313 h 2896"/>
                  <a:gd name="T34" fmla="*/ 347 w 964"/>
                  <a:gd name="T35" fmla="*/ 326 h 2896"/>
                  <a:gd name="T36" fmla="*/ 473 w 964"/>
                  <a:gd name="T37" fmla="*/ 594 h 2896"/>
                  <a:gd name="T38" fmla="*/ 489 w 964"/>
                  <a:gd name="T39" fmla="*/ 450 h 2896"/>
                  <a:gd name="T40" fmla="*/ 328 w 964"/>
                  <a:gd name="T41" fmla="*/ 289 h 2896"/>
                  <a:gd name="T42" fmla="*/ 206 w 964"/>
                  <a:gd name="T43" fmla="*/ 247 h 2896"/>
                  <a:gd name="T44" fmla="*/ 201 w 964"/>
                  <a:gd name="T45" fmla="*/ 136 h 2896"/>
                  <a:gd name="T46" fmla="*/ 220 w 964"/>
                  <a:gd name="T47" fmla="*/ 234 h 2896"/>
                  <a:gd name="T48" fmla="*/ 335 w 964"/>
                  <a:gd name="T49" fmla="*/ 270 h 2896"/>
                  <a:gd name="T50" fmla="*/ 508 w 964"/>
                  <a:gd name="T51" fmla="*/ 444 h 2896"/>
                  <a:gd name="T52" fmla="*/ 523 w 964"/>
                  <a:gd name="T53" fmla="*/ 644 h 2896"/>
                  <a:gd name="T54" fmla="*/ 355 w 964"/>
                  <a:gd name="T55" fmla="*/ 235 h 2896"/>
                  <a:gd name="T56" fmla="*/ 294 w 964"/>
                  <a:gd name="T57" fmla="*/ 146 h 2896"/>
                  <a:gd name="T58" fmla="*/ 372 w 964"/>
                  <a:gd name="T59" fmla="*/ 225 h 2896"/>
                  <a:gd name="T60" fmla="*/ 542 w 964"/>
                  <a:gd name="T61" fmla="*/ 664 h 2896"/>
                  <a:gd name="T62" fmla="*/ 597 w 964"/>
                  <a:gd name="T63" fmla="*/ 744 h 2896"/>
                  <a:gd name="T64" fmla="*/ 893 w 964"/>
                  <a:gd name="T65" fmla="*/ 1176 h 2896"/>
                  <a:gd name="T66" fmla="*/ 899 w 964"/>
                  <a:gd name="T67" fmla="*/ 1002 h 2896"/>
                  <a:gd name="T68" fmla="*/ 766 w 964"/>
                  <a:gd name="T69" fmla="*/ 915 h 2896"/>
                  <a:gd name="T70" fmla="*/ 816 w 964"/>
                  <a:gd name="T71" fmla="*/ 829 h 2896"/>
                  <a:gd name="T72" fmla="*/ 911 w 964"/>
                  <a:gd name="T73" fmla="*/ 981 h 2896"/>
                  <a:gd name="T74" fmla="*/ 925 w 964"/>
                  <a:gd name="T75" fmla="*/ 1208 h 2896"/>
                  <a:gd name="T76" fmla="*/ 963 w 964"/>
                  <a:gd name="T77" fmla="*/ 2390 h 2896"/>
                  <a:gd name="T78" fmla="*/ 856 w 964"/>
                  <a:gd name="T79" fmla="*/ 2516 h 2896"/>
                  <a:gd name="T80" fmla="*/ 816 w 964"/>
                  <a:gd name="T81" fmla="*/ 2612 h 2896"/>
                  <a:gd name="T82" fmla="*/ 833 w 964"/>
                  <a:gd name="T83" fmla="*/ 2888 h 2896"/>
                  <a:gd name="T84" fmla="*/ 758 w 964"/>
                  <a:gd name="T85" fmla="*/ 2889 h 2896"/>
                  <a:gd name="T86" fmla="*/ 778 w 964"/>
                  <a:gd name="T87" fmla="*/ 2618 h 2896"/>
                  <a:gd name="T88" fmla="*/ 919 w 964"/>
                  <a:gd name="T89" fmla="*/ 2400 h 2896"/>
                  <a:gd name="T90" fmla="*/ 919 w 964"/>
                  <a:gd name="T91" fmla="*/ 1255 h 2896"/>
                  <a:gd name="T92" fmla="*/ 564 w 964"/>
                  <a:gd name="T93" fmla="*/ 1039 h 2896"/>
                  <a:gd name="T94" fmla="*/ 394 w 964"/>
                  <a:gd name="T95" fmla="*/ 879 h 2896"/>
                  <a:gd name="T96" fmla="*/ 346 w 964"/>
                  <a:gd name="T97" fmla="*/ 758 h 2896"/>
                  <a:gd name="T98" fmla="*/ 87 w 964"/>
                  <a:gd name="T99" fmla="*/ 28 h 2896"/>
                  <a:gd name="T100" fmla="*/ 140 w 964"/>
                  <a:gd name="T101" fmla="*/ 82 h 2896"/>
                  <a:gd name="T102" fmla="*/ 96 w 964"/>
                  <a:gd name="T103" fmla="*/ 375 h 2896"/>
                  <a:gd name="T104" fmla="*/ 145 w 964"/>
                  <a:gd name="T105" fmla="*/ 424 h 2896"/>
                  <a:gd name="T106" fmla="*/ 238 w 964"/>
                  <a:gd name="T107" fmla="*/ 185 h 2896"/>
                  <a:gd name="T108" fmla="*/ 785 w 964"/>
                  <a:gd name="T109" fmla="*/ 838 h 2896"/>
                  <a:gd name="T110" fmla="*/ 817 w 964"/>
                  <a:gd name="T111" fmla="*/ 869 h 2896"/>
                  <a:gd name="T112" fmla="*/ 357 w 964"/>
                  <a:gd name="T113" fmla="*/ 185 h 2896"/>
                  <a:gd name="T114" fmla="*/ 326 w 964"/>
                  <a:gd name="T115" fmla="*/ 217 h 2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64" h="2896">
                    <a:moveTo>
                      <a:pt x="394" y="879"/>
                    </a:moveTo>
                    <a:cubicBezTo>
                      <a:pt x="344" y="909"/>
                      <a:pt x="299" y="888"/>
                      <a:pt x="279" y="860"/>
                    </a:cubicBezTo>
                    <a:cubicBezTo>
                      <a:pt x="255" y="827"/>
                      <a:pt x="259" y="782"/>
                      <a:pt x="288" y="754"/>
                    </a:cubicBezTo>
                    <a:cubicBezTo>
                      <a:pt x="316" y="725"/>
                      <a:pt x="361" y="722"/>
                      <a:pt x="394" y="746"/>
                    </a:cubicBezTo>
                    <a:cubicBezTo>
                      <a:pt x="423" y="767"/>
                      <a:pt x="441" y="813"/>
                      <a:pt x="413" y="859"/>
                    </a:cubicBezTo>
                    <a:cubicBezTo>
                      <a:pt x="415" y="861"/>
                      <a:pt x="416" y="863"/>
                      <a:pt x="418" y="865"/>
                    </a:cubicBezTo>
                    <a:cubicBezTo>
                      <a:pt x="465" y="912"/>
                      <a:pt x="511" y="958"/>
                      <a:pt x="557" y="1004"/>
                    </a:cubicBezTo>
                    <a:cubicBezTo>
                      <a:pt x="562" y="1009"/>
                      <a:pt x="566" y="1011"/>
                      <a:pt x="573" y="1011"/>
                    </a:cubicBezTo>
                    <a:cubicBezTo>
                      <a:pt x="603" y="1010"/>
                      <a:pt x="633" y="1011"/>
                      <a:pt x="663" y="1011"/>
                    </a:cubicBezTo>
                    <a:cubicBezTo>
                      <a:pt x="666" y="1011"/>
                      <a:pt x="668" y="1010"/>
                      <a:pt x="673" y="1010"/>
                    </a:cubicBezTo>
                    <a:cubicBezTo>
                      <a:pt x="669" y="1006"/>
                      <a:pt x="667" y="1004"/>
                      <a:pt x="665" y="1001"/>
                    </a:cubicBezTo>
                    <a:cubicBezTo>
                      <a:pt x="633" y="970"/>
                      <a:pt x="601" y="938"/>
                      <a:pt x="569" y="906"/>
                    </a:cubicBezTo>
                    <a:cubicBezTo>
                      <a:pt x="562" y="899"/>
                      <a:pt x="559" y="891"/>
                      <a:pt x="559" y="881"/>
                    </a:cubicBezTo>
                    <a:cubicBezTo>
                      <a:pt x="559" y="839"/>
                      <a:pt x="559" y="797"/>
                      <a:pt x="559" y="755"/>
                    </a:cubicBezTo>
                    <a:cubicBezTo>
                      <a:pt x="559" y="748"/>
                      <a:pt x="557" y="743"/>
                      <a:pt x="552" y="738"/>
                    </a:cubicBezTo>
                    <a:cubicBezTo>
                      <a:pt x="513" y="699"/>
                      <a:pt x="474" y="660"/>
                      <a:pt x="435" y="620"/>
                    </a:cubicBezTo>
                    <a:cubicBezTo>
                      <a:pt x="430" y="616"/>
                      <a:pt x="426" y="614"/>
                      <a:pt x="420" y="614"/>
                    </a:cubicBezTo>
                    <a:cubicBezTo>
                      <a:pt x="369" y="614"/>
                      <a:pt x="319" y="614"/>
                      <a:pt x="268" y="614"/>
                    </a:cubicBezTo>
                    <a:cubicBezTo>
                      <a:pt x="256" y="615"/>
                      <a:pt x="247" y="611"/>
                      <a:pt x="238" y="602"/>
                    </a:cubicBezTo>
                    <a:cubicBezTo>
                      <a:pt x="208" y="571"/>
                      <a:pt x="176" y="540"/>
                      <a:pt x="145" y="508"/>
                    </a:cubicBezTo>
                    <a:cubicBezTo>
                      <a:pt x="143" y="506"/>
                      <a:pt x="140" y="503"/>
                      <a:pt x="138" y="500"/>
                    </a:cubicBezTo>
                    <a:cubicBezTo>
                      <a:pt x="111" y="513"/>
                      <a:pt x="85" y="515"/>
                      <a:pt x="59" y="503"/>
                    </a:cubicBezTo>
                    <a:cubicBezTo>
                      <a:pt x="41" y="494"/>
                      <a:pt x="27" y="480"/>
                      <a:pt x="18" y="462"/>
                    </a:cubicBezTo>
                    <a:cubicBezTo>
                      <a:pt x="0" y="425"/>
                      <a:pt x="10" y="380"/>
                      <a:pt x="43" y="355"/>
                    </a:cubicBezTo>
                    <a:cubicBezTo>
                      <a:pt x="76" y="330"/>
                      <a:pt x="123" y="332"/>
                      <a:pt x="153" y="359"/>
                    </a:cubicBezTo>
                    <a:cubicBezTo>
                      <a:pt x="180" y="383"/>
                      <a:pt x="196" y="429"/>
                      <a:pt x="166" y="476"/>
                    </a:cubicBezTo>
                    <a:cubicBezTo>
                      <a:pt x="168" y="478"/>
                      <a:pt x="169" y="480"/>
                      <a:pt x="171" y="482"/>
                    </a:cubicBezTo>
                    <a:cubicBezTo>
                      <a:pt x="201" y="511"/>
                      <a:pt x="231" y="541"/>
                      <a:pt x="260" y="571"/>
                    </a:cubicBezTo>
                    <a:cubicBezTo>
                      <a:pt x="264" y="575"/>
                      <a:pt x="269" y="577"/>
                      <a:pt x="275" y="577"/>
                    </a:cubicBezTo>
                    <a:cubicBezTo>
                      <a:pt x="325" y="576"/>
                      <a:pt x="375" y="576"/>
                      <a:pt x="425" y="576"/>
                    </a:cubicBezTo>
                    <a:cubicBezTo>
                      <a:pt x="435" y="576"/>
                      <a:pt x="445" y="576"/>
                      <a:pt x="453" y="586"/>
                    </a:cubicBezTo>
                    <a:cubicBezTo>
                      <a:pt x="454" y="582"/>
                      <a:pt x="454" y="580"/>
                      <a:pt x="454" y="578"/>
                    </a:cubicBezTo>
                    <a:cubicBezTo>
                      <a:pt x="454" y="541"/>
                      <a:pt x="454" y="504"/>
                      <a:pt x="454" y="467"/>
                    </a:cubicBezTo>
                    <a:cubicBezTo>
                      <a:pt x="455" y="462"/>
                      <a:pt x="453" y="458"/>
                      <a:pt x="449" y="454"/>
                    </a:cubicBezTo>
                    <a:cubicBezTo>
                      <a:pt x="412" y="417"/>
                      <a:pt x="375" y="380"/>
                      <a:pt x="338" y="343"/>
                    </a:cubicBezTo>
                    <a:cubicBezTo>
                      <a:pt x="334" y="339"/>
                      <a:pt x="330" y="338"/>
                      <a:pt x="324" y="338"/>
                    </a:cubicBezTo>
                    <a:cubicBezTo>
                      <a:pt x="294" y="338"/>
                      <a:pt x="265" y="338"/>
                      <a:pt x="235" y="338"/>
                    </a:cubicBezTo>
                    <a:cubicBezTo>
                      <a:pt x="229" y="338"/>
                      <a:pt x="224" y="336"/>
                      <a:pt x="219" y="331"/>
                    </a:cubicBezTo>
                    <a:cubicBezTo>
                      <a:pt x="174" y="286"/>
                      <a:pt x="129" y="241"/>
                      <a:pt x="84" y="196"/>
                    </a:cubicBezTo>
                    <a:cubicBezTo>
                      <a:pt x="79" y="191"/>
                      <a:pt x="76" y="186"/>
                      <a:pt x="77" y="178"/>
                    </a:cubicBezTo>
                    <a:cubicBezTo>
                      <a:pt x="78" y="174"/>
                      <a:pt x="77" y="169"/>
                      <a:pt x="77" y="164"/>
                    </a:cubicBezTo>
                    <a:cubicBezTo>
                      <a:pt x="51" y="159"/>
                      <a:pt x="30" y="147"/>
                      <a:pt x="17" y="125"/>
                    </a:cubicBezTo>
                    <a:cubicBezTo>
                      <a:pt x="6" y="107"/>
                      <a:pt x="2" y="88"/>
                      <a:pt x="6" y="68"/>
                    </a:cubicBezTo>
                    <a:cubicBezTo>
                      <a:pt x="12" y="29"/>
                      <a:pt x="46" y="0"/>
                      <a:pt x="86" y="0"/>
                    </a:cubicBezTo>
                    <a:cubicBezTo>
                      <a:pt x="126" y="0"/>
                      <a:pt x="161" y="29"/>
                      <a:pt x="167" y="67"/>
                    </a:cubicBezTo>
                    <a:cubicBezTo>
                      <a:pt x="171" y="90"/>
                      <a:pt x="166" y="112"/>
                      <a:pt x="152" y="131"/>
                    </a:cubicBezTo>
                    <a:cubicBezTo>
                      <a:pt x="138" y="149"/>
                      <a:pt x="119" y="159"/>
                      <a:pt x="96" y="164"/>
                    </a:cubicBezTo>
                    <a:cubicBezTo>
                      <a:pt x="96" y="168"/>
                      <a:pt x="96" y="171"/>
                      <a:pt x="96" y="175"/>
                    </a:cubicBezTo>
                    <a:cubicBezTo>
                      <a:pt x="96" y="179"/>
                      <a:pt x="98" y="183"/>
                      <a:pt x="101" y="186"/>
                    </a:cubicBezTo>
                    <a:cubicBezTo>
                      <a:pt x="123" y="208"/>
                      <a:pt x="145" y="231"/>
                      <a:pt x="168" y="253"/>
                    </a:cubicBezTo>
                    <a:cubicBezTo>
                      <a:pt x="188" y="273"/>
                      <a:pt x="208" y="292"/>
                      <a:pt x="227" y="313"/>
                    </a:cubicBezTo>
                    <a:cubicBezTo>
                      <a:pt x="232" y="317"/>
                      <a:pt x="237" y="319"/>
                      <a:pt x="243" y="319"/>
                    </a:cubicBezTo>
                    <a:cubicBezTo>
                      <a:pt x="272" y="319"/>
                      <a:pt x="301" y="319"/>
                      <a:pt x="331" y="319"/>
                    </a:cubicBezTo>
                    <a:cubicBezTo>
                      <a:pt x="338" y="319"/>
                      <a:pt x="343" y="321"/>
                      <a:pt x="347" y="326"/>
                    </a:cubicBezTo>
                    <a:cubicBezTo>
                      <a:pt x="387" y="366"/>
                      <a:pt x="427" y="405"/>
                      <a:pt x="466" y="445"/>
                    </a:cubicBezTo>
                    <a:cubicBezTo>
                      <a:pt x="471" y="450"/>
                      <a:pt x="473" y="455"/>
                      <a:pt x="473" y="462"/>
                    </a:cubicBezTo>
                    <a:cubicBezTo>
                      <a:pt x="473" y="506"/>
                      <a:pt x="474" y="550"/>
                      <a:pt x="473" y="594"/>
                    </a:cubicBezTo>
                    <a:cubicBezTo>
                      <a:pt x="473" y="607"/>
                      <a:pt x="480" y="613"/>
                      <a:pt x="489" y="621"/>
                    </a:cubicBezTo>
                    <a:cubicBezTo>
                      <a:pt x="489" y="616"/>
                      <a:pt x="489" y="613"/>
                      <a:pt x="489" y="610"/>
                    </a:cubicBezTo>
                    <a:cubicBezTo>
                      <a:pt x="489" y="557"/>
                      <a:pt x="489" y="503"/>
                      <a:pt x="489" y="450"/>
                    </a:cubicBezTo>
                    <a:cubicBezTo>
                      <a:pt x="489" y="444"/>
                      <a:pt x="488" y="440"/>
                      <a:pt x="483" y="435"/>
                    </a:cubicBezTo>
                    <a:cubicBezTo>
                      <a:pt x="436" y="389"/>
                      <a:pt x="390" y="342"/>
                      <a:pt x="343" y="295"/>
                    </a:cubicBezTo>
                    <a:cubicBezTo>
                      <a:pt x="339" y="291"/>
                      <a:pt x="334" y="289"/>
                      <a:pt x="328" y="289"/>
                    </a:cubicBezTo>
                    <a:cubicBezTo>
                      <a:pt x="305" y="289"/>
                      <a:pt x="282" y="289"/>
                      <a:pt x="258" y="289"/>
                    </a:cubicBezTo>
                    <a:cubicBezTo>
                      <a:pt x="251" y="289"/>
                      <a:pt x="246" y="287"/>
                      <a:pt x="241" y="282"/>
                    </a:cubicBezTo>
                    <a:cubicBezTo>
                      <a:pt x="230" y="270"/>
                      <a:pt x="218" y="259"/>
                      <a:pt x="206" y="247"/>
                    </a:cubicBezTo>
                    <a:cubicBezTo>
                      <a:pt x="203" y="243"/>
                      <a:pt x="200" y="239"/>
                      <a:pt x="196" y="234"/>
                    </a:cubicBezTo>
                    <a:cubicBezTo>
                      <a:pt x="166" y="226"/>
                      <a:pt x="155" y="201"/>
                      <a:pt x="157" y="179"/>
                    </a:cubicBezTo>
                    <a:cubicBezTo>
                      <a:pt x="160" y="157"/>
                      <a:pt x="179" y="138"/>
                      <a:pt x="201" y="136"/>
                    </a:cubicBezTo>
                    <a:cubicBezTo>
                      <a:pt x="226" y="133"/>
                      <a:pt x="248" y="147"/>
                      <a:pt x="255" y="170"/>
                    </a:cubicBezTo>
                    <a:cubicBezTo>
                      <a:pt x="259" y="183"/>
                      <a:pt x="258" y="196"/>
                      <a:pt x="251" y="209"/>
                    </a:cubicBezTo>
                    <a:cubicBezTo>
                      <a:pt x="245" y="221"/>
                      <a:pt x="234" y="229"/>
                      <a:pt x="220" y="234"/>
                    </a:cubicBezTo>
                    <a:cubicBezTo>
                      <a:pt x="232" y="246"/>
                      <a:pt x="243" y="257"/>
                      <a:pt x="254" y="268"/>
                    </a:cubicBezTo>
                    <a:cubicBezTo>
                      <a:pt x="256" y="270"/>
                      <a:pt x="261" y="270"/>
                      <a:pt x="264" y="270"/>
                    </a:cubicBezTo>
                    <a:cubicBezTo>
                      <a:pt x="288" y="270"/>
                      <a:pt x="311" y="271"/>
                      <a:pt x="335" y="270"/>
                    </a:cubicBezTo>
                    <a:cubicBezTo>
                      <a:pt x="342" y="270"/>
                      <a:pt x="347" y="273"/>
                      <a:pt x="353" y="278"/>
                    </a:cubicBezTo>
                    <a:cubicBezTo>
                      <a:pt x="402" y="327"/>
                      <a:pt x="451" y="376"/>
                      <a:pt x="501" y="426"/>
                    </a:cubicBezTo>
                    <a:cubicBezTo>
                      <a:pt x="506" y="431"/>
                      <a:pt x="508" y="437"/>
                      <a:pt x="508" y="444"/>
                    </a:cubicBezTo>
                    <a:cubicBezTo>
                      <a:pt x="508" y="506"/>
                      <a:pt x="509" y="567"/>
                      <a:pt x="508" y="629"/>
                    </a:cubicBezTo>
                    <a:cubicBezTo>
                      <a:pt x="508" y="641"/>
                      <a:pt x="513" y="647"/>
                      <a:pt x="523" y="654"/>
                    </a:cubicBezTo>
                    <a:cubicBezTo>
                      <a:pt x="523" y="650"/>
                      <a:pt x="523" y="647"/>
                      <a:pt x="523" y="644"/>
                    </a:cubicBezTo>
                    <a:cubicBezTo>
                      <a:pt x="523" y="567"/>
                      <a:pt x="523" y="490"/>
                      <a:pt x="523" y="413"/>
                    </a:cubicBezTo>
                    <a:cubicBezTo>
                      <a:pt x="523" y="407"/>
                      <a:pt x="522" y="402"/>
                      <a:pt x="518" y="398"/>
                    </a:cubicBezTo>
                    <a:cubicBezTo>
                      <a:pt x="463" y="344"/>
                      <a:pt x="409" y="290"/>
                      <a:pt x="355" y="235"/>
                    </a:cubicBezTo>
                    <a:cubicBezTo>
                      <a:pt x="353" y="234"/>
                      <a:pt x="351" y="232"/>
                      <a:pt x="349" y="230"/>
                    </a:cubicBezTo>
                    <a:cubicBezTo>
                      <a:pt x="317" y="240"/>
                      <a:pt x="294" y="233"/>
                      <a:pt x="281" y="209"/>
                    </a:cubicBezTo>
                    <a:cubicBezTo>
                      <a:pt x="270" y="188"/>
                      <a:pt x="276" y="161"/>
                      <a:pt x="294" y="146"/>
                    </a:cubicBezTo>
                    <a:cubicBezTo>
                      <a:pt x="313" y="131"/>
                      <a:pt x="340" y="132"/>
                      <a:pt x="358" y="147"/>
                    </a:cubicBezTo>
                    <a:cubicBezTo>
                      <a:pt x="378" y="165"/>
                      <a:pt x="381" y="189"/>
                      <a:pt x="365" y="218"/>
                    </a:cubicBezTo>
                    <a:cubicBezTo>
                      <a:pt x="367" y="220"/>
                      <a:pt x="369" y="223"/>
                      <a:pt x="372" y="225"/>
                    </a:cubicBezTo>
                    <a:cubicBezTo>
                      <a:pt x="426" y="279"/>
                      <a:pt x="479" y="333"/>
                      <a:pt x="533" y="387"/>
                    </a:cubicBezTo>
                    <a:cubicBezTo>
                      <a:pt x="540" y="393"/>
                      <a:pt x="542" y="399"/>
                      <a:pt x="542" y="408"/>
                    </a:cubicBezTo>
                    <a:cubicBezTo>
                      <a:pt x="542" y="493"/>
                      <a:pt x="542" y="579"/>
                      <a:pt x="542" y="664"/>
                    </a:cubicBezTo>
                    <a:cubicBezTo>
                      <a:pt x="542" y="672"/>
                      <a:pt x="544" y="677"/>
                      <a:pt x="550" y="682"/>
                    </a:cubicBezTo>
                    <a:cubicBezTo>
                      <a:pt x="562" y="694"/>
                      <a:pt x="574" y="707"/>
                      <a:pt x="587" y="719"/>
                    </a:cubicBezTo>
                    <a:cubicBezTo>
                      <a:pt x="594" y="726"/>
                      <a:pt x="597" y="734"/>
                      <a:pt x="597" y="744"/>
                    </a:cubicBezTo>
                    <a:cubicBezTo>
                      <a:pt x="597" y="787"/>
                      <a:pt x="597" y="829"/>
                      <a:pt x="597" y="872"/>
                    </a:cubicBezTo>
                    <a:cubicBezTo>
                      <a:pt x="597" y="878"/>
                      <a:pt x="598" y="882"/>
                      <a:pt x="602" y="885"/>
                    </a:cubicBezTo>
                    <a:cubicBezTo>
                      <a:pt x="699" y="982"/>
                      <a:pt x="796" y="1079"/>
                      <a:pt x="893" y="1176"/>
                    </a:cubicBezTo>
                    <a:cubicBezTo>
                      <a:pt x="894" y="1177"/>
                      <a:pt x="896" y="1179"/>
                      <a:pt x="898" y="1181"/>
                    </a:cubicBezTo>
                    <a:cubicBezTo>
                      <a:pt x="898" y="1178"/>
                      <a:pt x="899" y="1176"/>
                      <a:pt x="899" y="1174"/>
                    </a:cubicBezTo>
                    <a:cubicBezTo>
                      <a:pt x="899" y="1117"/>
                      <a:pt x="899" y="1060"/>
                      <a:pt x="899" y="1002"/>
                    </a:cubicBezTo>
                    <a:cubicBezTo>
                      <a:pt x="899" y="999"/>
                      <a:pt x="898" y="995"/>
                      <a:pt x="896" y="993"/>
                    </a:cubicBezTo>
                    <a:cubicBezTo>
                      <a:pt x="869" y="966"/>
                      <a:pt x="842" y="938"/>
                      <a:pt x="814" y="911"/>
                    </a:cubicBezTo>
                    <a:cubicBezTo>
                      <a:pt x="799" y="919"/>
                      <a:pt x="783" y="922"/>
                      <a:pt x="766" y="915"/>
                    </a:cubicBezTo>
                    <a:cubicBezTo>
                      <a:pt x="755" y="911"/>
                      <a:pt x="747" y="903"/>
                      <a:pt x="741" y="892"/>
                    </a:cubicBezTo>
                    <a:cubicBezTo>
                      <a:pt x="730" y="872"/>
                      <a:pt x="735" y="846"/>
                      <a:pt x="753" y="831"/>
                    </a:cubicBezTo>
                    <a:cubicBezTo>
                      <a:pt x="770" y="816"/>
                      <a:pt x="797" y="815"/>
                      <a:pt x="816" y="829"/>
                    </a:cubicBezTo>
                    <a:cubicBezTo>
                      <a:pt x="836" y="844"/>
                      <a:pt x="841" y="869"/>
                      <a:pt x="828" y="897"/>
                    </a:cubicBezTo>
                    <a:cubicBezTo>
                      <a:pt x="830" y="900"/>
                      <a:pt x="832" y="902"/>
                      <a:pt x="835" y="905"/>
                    </a:cubicBezTo>
                    <a:cubicBezTo>
                      <a:pt x="860" y="930"/>
                      <a:pt x="885" y="955"/>
                      <a:pt x="911" y="981"/>
                    </a:cubicBezTo>
                    <a:cubicBezTo>
                      <a:pt x="916" y="986"/>
                      <a:pt x="918" y="991"/>
                      <a:pt x="918" y="998"/>
                    </a:cubicBezTo>
                    <a:cubicBezTo>
                      <a:pt x="918" y="1063"/>
                      <a:pt x="918" y="1127"/>
                      <a:pt x="918" y="1192"/>
                    </a:cubicBezTo>
                    <a:cubicBezTo>
                      <a:pt x="918" y="1199"/>
                      <a:pt x="920" y="1203"/>
                      <a:pt x="925" y="1208"/>
                    </a:cubicBezTo>
                    <a:cubicBezTo>
                      <a:pt x="935" y="1218"/>
                      <a:pt x="944" y="1228"/>
                      <a:pt x="955" y="1238"/>
                    </a:cubicBezTo>
                    <a:cubicBezTo>
                      <a:pt x="961" y="1244"/>
                      <a:pt x="964" y="1251"/>
                      <a:pt x="964" y="1260"/>
                    </a:cubicBezTo>
                    <a:cubicBezTo>
                      <a:pt x="964" y="1380"/>
                      <a:pt x="964" y="2153"/>
                      <a:pt x="963" y="2390"/>
                    </a:cubicBezTo>
                    <a:cubicBezTo>
                      <a:pt x="963" y="2393"/>
                      <a:pt x="963" y="2395"/>
                      <a:pt x="963" y="2398"/>
                    </a:cubicBezTo>
                    <a:cubicBezTo>
                      <a:pt x="963" y="2406"/>
                      <a:pt x="960" y="2412"/>
                      <a:pt x="955" y="2418"/>
                    </a:cubicBezTo>
                    <a:cubicBezTo>
                      <a:pt x="922" y="2450"/>
                      <a:pt x="889" y="2483"/>
                      <a:pt x="856" y="2516"/>
                    </a:cubicBezTo>
                    <a:cubicBezTo>
                      <a:pt x="844" y="2527"/>
                      <a:pt x="833" y="2539"/>
                      <a:pt x="821" y="2550"/>
                    </a:cubicBezTo>
                    <a:cubicBezTo>
                      <a:pt x="817" y="2554"/>
                      <a:pt x="815" y="2557"/>
                      <a:pt x="816" y="2563"/>
                    </a:cubicBezTo>
                    <a:cubicBezTo>
                      <a:pt x="816" y="2579"/>
                      <a:pt x="816" y="2595"/>
                      <a:pt x="816" y="2612"/>
                    </a:cubicBezTo>
                    <a:cubicBezTo>
                      <a:pt x="815" y="2617"/>
                      <a:pt x="817" y="2620"/>
                      <a:pt x="821" y="2623"/>
                    </a:cubicBezTo>
                    <a:cubicBezTo>
                      <a:pt x="830" y="2628"/>
                      <a:pt x="833" y="2637"/>
                      <a:pt x="833" y="2647"/>
                    </a:cubicBezTo>
                    <a:cubicBezTo>
                      <a:pt x="833" y="2728"/>
                      <a:pt x="833" y="2808"/>
                      <a:pt x="833" y="2888"/>
                    </a:cubicBezTo>
                    <a:cubicBezTo>
                      <a:pt x="833" y="2891"/>
                      <a:pt x="833" y="2893"/>
                      <a:pt x="833" y="2896"/>
                    </a:cubicBezTo>
                    <a:cubicBezTo>
                      <a:pt x="808" y="2896"/>
                      <a:pt x="784" y="2896"/>
                      <a:pt x="759" y="2896"/>
                    </a:cubicBezTo>
                    <a:cubicBezTo>
                      <a:pt x="759" y="2894"/>
                      <a:pt x="758" y="2892"/>
                      <a:pt x="758" y="2889"/>
                    </a:cubicBezTo>
                    <a:cubicBezTo>
                      <a:pt x="758" y="2808"/>
                      <a:pt x="758" y="2728"/>
                      <a:pt x="758" y="2647"/>
                    </a:cubicBezTo>
                    <a:cubicBezTo>
                      <a:pt x="758" y="2636"/>
                      <a:pt x="762" y="2628"/>
                      <a:pt x="771" y="2622"/>
                    </a:cubicBezTo>
                    <a:cubicBezTo>
                      <a:pt x="773" y="2621"/>
                      <a:pt x="775" y="2619"/>
                      <a:pt x="778" y="2618"/>
                    </a:cubicBezTo>
                    <a:cubicBezTo>
                      <a:pt x="778" y="2600"/>
                      <a:pt x="778" y="2581"/>
                      <a:pt x="778" y="2563"/>
                    </a:cubicBezTo>
                    <a:cubicBezTo>
                      <a:pt x="778" y="2537"/>
                      <a:pt x="776" y="2542"/>
                      <a:pt x="794" y="2524"/>
                    </a:cubicBezTo>
                    <a:cubicBezTo>
                      <a:pt x="836" y="2483"/>
                      <a:pt x="877" y="2441"/>
                      <a:pt x="919" y="2400"/>
                    </a:cubicBezTo>
                    <a:cubicBezTo>
                      <a:pt x="924" y="2395"/>
                      <a:pt x="926" y="2390"/>
                      <a:pt x="926" y="2384"/>
                    </a:cubicBezTo>
                    <a:cubicBezTo>
                      <a:pt x="926" y="2272"/>
                      <a:pt x="926" y="1389"/>
                      <a:pt x="926" y="1273"/>
                    </a:cubicBezTo>
                    <a:cubicBezTo>
                      <a:pt x="926" y="1266"/>
                      <a:pt x="924" y="1260"/>
                      <a:pt x="919" y="1255"/>
                    </a:cubicBezTo>
                    <a:cubicBezTo>
                      <a:pt x="849" y="1185"/>
                      <a:pt x="779" y="1116"/>
                      <a:pt x="709" y="1045"/>
                    </a:cubicBezTo>
                    <a:cubicBezTo>
                      <a:pt x="704" y="1040"/>
                      <a:pt x="699" y="1039"/>
                      <a:pt x="692" y="1039"/>
                    </a:cubicBezTo>
                    <a:cubicBezTo>
                      <a:pt x="650" y="1039"/>
                      <a:pt x="607" y="1039"/>
                      <a:pt x="564" y="1039"/>
                    </a:cubicBezTo>
                    <a:cubicBezTo>
                      <a:pt x="555" y="1039"/>
                      <a:pt x="549" y="1037"/>
                      <a:pt x="543" y="1031"/>
                    </a:cubicBezTo>
                    <a:cubicBezTo>
                      <a:pt x="496" y="983"/>
                      <a:pt x="448" y="935"/>
                      <a:pt x="400" y="887"/>
                    </a:cubicBezTo>
                    <a:cubicBezTo>
                      <a:pt x="398" y="885"/>
                      <a:pt x="396" y="882"/>
                      <a:pt x="394" y="879"/>
                    </a:cubicBezTo>
                    <a:close/>
                    <a:moveTo>
                      <a:pt x="345" y="866"/>
                    </a:moveTo>
                    <a:cubicBezTo>
                      <a:pt x="374" y="866"/>
                      <a:pt x="399" y="842"/>
                      <a:pt x="399" y="813"/>
                    </a:cubicBezTo>
                    <a:cubicBezTo>
                      <a:pt x="399" y="784"/>
                      <a:pt x="375" y="759"/>
                      <a:pt x="346" y="758"/>
                    </a:cubicBezTo>
                    <a:cubicBezTo>
                      <a:pt x="316" y="758"/>
                      <a:pt x="292" y="782"/>
                      <a:pt x="292" y="812"/>
                    </a:cubicBezTo>
                    <a:cubicBezTo>
                      <a:pt x="291" y="841"/>
                      <a:pt x="315" y="866"/>
                      <a:pt x="345" y="866"/>
                    </a:cubicBezTo>
                    <a:close/>
                    <a:moveTo>
                      <a:pt x="87" y="28"/>
                    </a:moveTo>
                    <a:cubicBezTo>
                      <a:pt x="57" y="28"/>
                      <a:pt x="33" y="52"/>
                      <a:pt x="33" y="82"/>
                    </a:cubicBezTo>
                    <a:cubicBezTo>
                      <a:pt x="33" y="111"/>
                      <a:pt x="57" y="136"/>
                      <a:pt x="86" y="136"/>
                    </a:cubicBezTo>
                    <a:cubicBezTo>
                      <a:pt x="115" y="136"/>
                      <a:pt x="140" y="111"/>
                      <a:pt x="140" y="82"/>
                    </a:cubicBezTo>
                    <a:cubicBezTo>
                      <a:pt x="140" y="52"/>
                      <a:pt x="116" y="28"/>
                      <a:pt x="87" y="28"/>
                    </a:cubicBezTo>
                    <a:close/>
                    <a:moveTo>
                      <a:pt x="145" y="424"/>
                    </a:moveTo>
                    <a:cubicBezTo>
                      <a:pt x="145" y="397"/>
                      <a:pt x="123" y="375"/>
                      <a:pt x="96" y="375"/>
                    </a:cubicBezTo>
                    <a:cubicBezTo>
                      <a:pt x="69" y="375"/>
                      <a:pt x="46" y="397"/>
                      <a:pt x="47" y="424"/>
                    </a:cubicBezTo>
                    <a:cubicBezTo>
                      <a:pt x="47" y="451"/>
                      <a:pt x="69" y="473"/>
                      <a:pt x="96" y="473"/>
                    </a:cubicBezTo>
                    <a:cubicBezTo>
                      <a:pt x="123" y="473"/>
                      <a:pt x="145" y="451"/>
                      <a:pt x="145" y="424"/>
                    </a:cubicBezTo>
                    <a:close/>
                    <a:moveTo>
                      <a:pt x="176" y="186"/>
                    </a:moveTo>
                    <a:cubicBezTo>
                      <a:pt x="176" y="203"/>
                      <a:pt x="190" y="217"/>
                      <a:pt x="207" y="217"/>
                    </a:cubicBezTo>
                    <a:cubicBezTo>
                      <a:pt x="224" y="217"/>
                      <a:pt x="238" y="202"/>
                      <a:pt x="238" y="185"/>
                    </a:cubicBezTo>
                    <a:cubicBezTo>
                      <a:pt x="238" y="168"/>
                      <a:pt x="224" y="154"/>
                      <a:pt x="207" y="154"/>
                    </a:cubicBezTo>
                    <a:cubicBezTo>
                      <a:pt x="190" y="154"/>
                      <a:pt x="176" y="168"/>
                      <a:pt x="176" y="186"/>
                    </a:cubicBezTo>
                    <a:close/>
                    <a:moveTo>
                      <a:pt x="785" y="838"/>
                    </a:moveTo>
                    <a:cubicBezTo>
                      <a:pt x="769" y="838"/>
                      <a:pt x="754" y="852"/>
                      <a:pt x="754" y="869"/>
                    </a:cubicBezTo>
                    <a:cubicBezTo>
                      <a:pt x="754" y="886"/>
                      <a:pt x="769" y="901"/>
                      <a:pt x="786" y="900"/>
                    </a:cubicBezTo>
                    <a:cubicBezTo>
                      <a:pt x="803" y="900"/>
                      <a:pt x="817" y="885"/>
                      <a:pt x="817" y="869"/>
                    </a:cubicBezTo>
                    <a:cubicBezTo>
                      <a:pt x="817" y="852"/>
                      <a:pt x="802" y="837"/>
                      <a:pt x="785" y="838"/>
                    </a:cubicBezTo>
                    <a:close/>
                    <a:moveTo>
                      <a:pt x="326" y="217"/>
                    </a:moveTo>
                    <a:cubicBezTo>
                      <a:pt x="343" y="216"/>
                      <a:pt x="357" y="202"/>
                      <a:pt x="357" y="185"/>
                    </a:cubicBezTo>
                    <a:cubicBezTo>
                      <a:pt x="357" y="168"/>
                      <a:pt x="342" y="154"/>
                      <a:pt x="325" y="154"/>
                    </a:cubicBezTo>
                    <a:cubicBezTo>
                      <a:pt x="308" y="155"/>
                      <a:pt x="294" y="169"/>
                      <a:pt x="295" y="186"/>
                    </a:cubicBezTo>
                    <a:cubicBezTo>
                      <a:pt x="295" y="203"/>
                      <a:pt x="309" y="217"/>
                      <a:pt x="326" y="217"/>
                    </a:cubicBezTo>
                    <a:close/>
                  </a:path>
                </a:pathLst>
              </a:custGeom>
              <a:grpFill/>
              <a:ln>
                <a:noFill/>
              </a:ln>
            </p:spPr>
            <p:txBody>
              <a:bodyPr vert="horz" wrap="square" lIns="91440" tIns="45720" rIns="91440" bIns="45720" numCol="1" anchor="t" anchorCtr="0" compatLnSpc="1">
                <a:prstTxWarp prst="textNoShape">
                  <a:avLst/>
                </a:prstTxWarp>
              </a:bodyPr>
              <a:lstStyle/>
              <a:p>
                <a:endParaRPr lang="de-DE" sz="1200"/>
              </a:p>
            </p:txBody>
          </p:sp>
        </p:grpSp>
        <p:grpSp>
          <p:nvGrpSpPr>
            <p:cNvPr id="149" name="Group 36"/>
            <p:cNvGrpSpPr>
              <a:grpSpLocks noChangeAspect="1"/>
            </p:cNvGrpSpPr>
            <p:nvPr/>
          </p:nvGrpSpPr>
          <p:grpSpPr bwMode="auto">
            <a:xfrm>
              <a:off x="5787062" y="5432600"/>
              <a:ext cx="972867" cy="977173"/>
              <a:chOff x="4598" y="3938"/>
              <a:chExt cx="226" cy="227"/>
            </a:xfrm>
          </p:grpSpPr>
          <p:sp>
            <p:nvSpPr>
              <p:cNvPr id="150" name="Freeform 37"/>
              <p:cNvSpPr>
                <a:spLocks/>
              </p:cNvSpPr>
              <p:nvPr/>
            </p:nvSpPr>
            <p:spPr bwMode="auto">
              <a:xfrm>
                <a:off x="4598" y="3938"/>
                <a:ext cx="226" cy="227"/>
              </a:xfrm>
              <a:custGeom>
                <a:avLst/>
                <a:gdLst>
                  <a:gd name="T0" fmla="*/ 1938 w 2115"/>
                  <a:gd name="T1" fmla="*/ 0 h 2115"/>
                  <a:gd name="T2" fmla="*/ 182 w 2115"/>
                  <a:gd name="T3" fmla="*/ 0 h 2115"/>
                  <a:gd name="T4" fmla="*/ 0 w 2115"/>
                  <a:gd name="T5" fmla="*/ 175 h 2115"/>
                  <a:gd name="T6" fmla="*/ 0 w 2115"/>
                  <a:gd name="T7" fmla="*/ 1721 h 2115"/>
                  <a:gd name="T8" fmla="*/ 129 w 2115"/>
                  <a:gd name="T9" fmla="*/ 1893 h 2115"/>
                  <a:gd name="T10" fmla="*/ 182 w 2115"/>
                  <a:gd name="T11" fmla="*/ 1901 h 2115"/>
                  <a:gd name="T12" fmla="*/ 236 w 2115"/>
                  <a:gd name="T13" fmla="*/ 1901 h 2115"/>
                  <a:gd name="T14" fmla="*/ 236 w 2115"/>
                  <a:gd name="T15" fmla="*/ 1992 h 2115"/>
                  <a:gd name="T16" fmla="*/ 343 w 2115"/>
                  <a:gd name="T17" fmla="*/ 2115 h 2115"/>
                  <a:gd name="T18" fmla="*/ 481 w 2115"/>
                  <a:gd name="T19" fmla="*/ 2115 h 2115"/>
                  <a:gd name="T20" fmla="*/ 586 w 2115"/>
                  <a:gd name="T21" fmla="*/ 1992 h 2115"/>
                  <a:gd name="T22" fmla="*/ 586 w 2115"/>
                  <a:gd name="T23" fmla="*/ 1901 h 2115"/>
                  <a:gd name="T24" fmla="*/ 1529 w 2115"/>
                  <a:gd name="T25" fmla="*/ 1901 h 2115"/>
                  <a:gd name="T26" fmla="*/ 1529 w 2115"/>
                  <a:gd name="T27" fmla="*/ 1992 h 2115"/>
                  <a:gd name="T28" fmla="*/ 1638 w 2115"/>
                  <a:gd name="T29" fmla="*/ 2115 h 2115"/>
                  <a:gd name="T30" fmla="*/ 1777 w 2115"/>
                  <a:gd name="T31" fmla="*/ 2115 h 2115"/>
                  <a:gd name="T32" fmla="*/ 1879 w 2115"/>
                  <a:gd name="T33" fmla="*/ 1992 h 2115"/>
                  <a:gd name="T34" fmla="*/ 1879 w 2115"/>
                  <a:gd name="T35" fmla="*/ 1901 h 2115"/>
                  <a:gd name="T36" fmla="*/ 1938 w 2115"/>
                  <a:gd name="T37" fmla="*/ 1901 h 2115"/>
                  <a:gd name="T38" fmla="*/ 1988 w 2115"/>
                  <a:gd name="T39" fmla="*/ 1893 h 2115"/>
                  <a:gd name="T40" fmla="*/ 2115 w 2115"/>
                  <a:gd name="T41" fmla="*/ 1721 h 2115"/>
                  <a:gd name="T42" fmla="*/ 2115 w 2115"/>
                  <a:gd name="T43" fmla="*/ 175 h 2115"/>
                  <a:gd name="T44" fmla="*/ 1938 w 2115"/>
                  <a:gd name="T45" fmla="*/ 0 h 2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15" h="2115">
                    <a:moveTo>
                      <a:pt x="1938" y="0"/>
                    </a:moveTo>
                    <a:cubicBezTo>
                      <a:pt x="182" y="0"/>
                      <a:pt x="182" y="0"/>
                      <a:pt x="182" y="0"/>
                    </a:cubicBezTo>
                    <a:cubicBezTo>
                      <a:pt x="84" y="0"/>
                      <a:pt x="0" y="77"/>
                      <a:pt x="0" y="175"/>
                    </a:cubicBezTo>
                    <a:cubicBezTo>
                      <a:pt x="0" y="1721"/>
                      <a:pt x="0" y="1721"/>
                      <a:pt x="0" y="1721"/>
                    </a:cubicBezTo>
                    <a:cubicBezTo>
                      <a:pt x="0" y="1801"/>
                      <a:pt x="55" y="1870"/>
                      <a:pt x="129" y="1893"/>
                    </a:cubicBezTo>
                    <a:cubicBezTo>
                      <a:pt x="145" y="1898"/>
                      <a:pt x="164" y="1901"/>
                      <a:pt x="182" y="1901"/>
                    </a:cubicBezTo>
                    <a:cubicBezTo>
                      <a:pt x="236" y="1901"/>
                      <a:pt x="236" y="1901"/>
                      <a:pt x="236" y="1901"/>
                    </a:cubicBezTo>
                    <a:cubicBezTo>
                      <a:pt x="236" y="1992"/>
                      <a:pt x="236" y="1992"/>
                      <a:pt x="236" y="1992"/>
                    </a:cubicBezTo>
                    <a:cubicBezTo>
                      <a:pt x="236" y="2050"/>
                      <a:pt x="285" y="2115"/>
                      <a:pt x="343" y="2115"/>
                    </a:cubicBezTo>
                    <a:cubicBezTo>
                      <a:pt x="481" y="2115"/>
                      <a:pt x="481" y="2115"/>
                      <a:pt x="481" y="2115"/>
                    </a:cubicBezTo>
                    <a:cubicBezTo>
                      <a:pt x="539" y="2115"/>
                      <a:pt x="586" y="2050"/>
                      <a:pt x="586" y="1992"/>
                    </a:cubicBezTo>
                    <a:cubicBezTo>
                      <a:pt x="586" y="1901"/>
                      <a:pt x="586" y="1901"/>
                      <a:pt x="586" y="1901"/>
                    </a:cubicBezTo>
                    <a:cubicBezTo>
                      <a:pt x="1529" y="1901"/>
                      <a:pt x="1529" y="1901"/>
                      <a:pt x="1529" y="1901"/>
                    </a:cubicBezTo>
                    <a:cubicBezTo>
                      <a:pt x="1529" y="1992"/>
                      <a:pt x="1529" y="1992"/>
                      <a:pt x="1529" y="1992"/>
                    </a:cubicBezTo>
                    <a:cubicBezTo>
                      <a:pt x="1529" y="2050"/>
                      <a:pt x="1580" y="2115"/>
                      <a:pt x="1638" y="2115"/>
                    </a:cubicBezTo>
                    <a:cubicBezTo>
                      <a:pt x="1777" y="2115"/>
                      <a:pt x="1777" y="2115"/>
                      <a:pt x="1777" y="2115"/>
                    </a:cubicBezTo>
                    <a:cubicBezTo>
                      <a:pt x="1835" y="2115"/>
                      <a:pt x="1879" y="2050"/>
                      <a:pt x="1879" y="1992"/>
                    </a:cubicBezTo>
                    <a:cubicBezTo>
                      <a:pt x="1879" y="1901"/>
                      <a:pt x="1879" y="1901"/>
                      <a:pt x="1879" y="1901"/>
                    </a:cubicBezTo>
                    <a:cubicBezTo>
                      <a:pt x="1938" y="1901"/>
                      <a:pt x="1938" y="1901"/>
                      <a:pt x="1938" y="1901"/>
                    </a:cubicBezTo>
                    <a:cubicBezTo>
                      <a:pt x="1956" y="1901"/>
                      <a:pt x="1972" y="1898"/>
                      <a:pt x="1988" y="1893"/>
                    </a:cubicBezTo>
                    <a:cubicBezTo>
                      <a:pt x="2062" y="1870"/>
                      <a:pt x="2115" y="1801"/>
                      <a:pt x="2115" y="1721"/>
                    </a:cubicBezTo>
                    <a:cubicBezTo>
                      <a:pt x="2115" y="175"/>
                      <a:pt x="2115" y="175"/>
                      <a:pt x="2115" y="175"/>
                    </a:cubicBezTo>
                    <a:cubicBezTo>
                      <a:pt x="2115" y="77"/>
                      <a:pt x="2036" y="0"/>
                      <a:pt x="1938" y="0"/>
                    </a:cubicBezTo>
                    <a:close/>
                  </a:path>
                </a:pathLst>
              </a:custGeom>
              <a:solidFill>
                <a:srgbClr val="0068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sp>
            <p:nvSpPr>
              <p:cNvPr id="151" name="Freeform 38"/>
              <p:cNvSpPr>
                <a:spLocks noEditPoints="1"/>
              </p:cNvSpPr>
              <p:nvPr/>
            </p:nvSpPr>
            <p:spPr bwMode="auto">
              <a:xfrm>
                <a:off x="4651" y="3969"/>
                <a:ext cx="120" cy="159"/>
              </a:xfrm>
              <a:custGeom>
                <a:avLst/>
                <a:gdLst>
                  <a:gd name="T0" fmla="*/ 524 w 1124"/>
                  <a:gd name="T1" fmla="*/ 381 h 1485"/>
                  <a:gd name="T2" fmla="*/ 663 w 1124"/>
                  <a:gd name="T3" fmla="*/ 277 h 1485"/>
                  <a:gd name="T4" fmla="*/ 533 w 1124"/>
                  <a:gd name="T5" fmla="*/ 155 h 1485"/>
                  <a:gd name="T6" fmla="*/ 467 w 1124"/>
                  <a:gd name="T7" fmla="*/ 105 h 1485"/>
                  <a:gd name="T8" fmla="*/ 517 w 1124"/>
                  <a:gd name="T9" fmla="*/ 65 h 1485"/>
                  <a:gd name="T10" fmla="*/ 575 w 1124"/>
                  <a:gd name="T11" fmla="*/ 115 h 1485"/>
                  <a:gd name="T12" fmla="*/ 658 w 1124"/>
                  <a:gd name="T13" fmla="*/ 113 h 1485"/>
                  <a:gd name="T14" fmla="*/ 519 w 1124"/>
                  <a:gd name="T15" fmla="*/ 0 h 1485"/>
                  <a:gd name="T16" fmla="*/ 381 w 1124"/>
                  <a:gd name="T17" fmla="*/ 104 h 1485"/>
                  <a:gd name="T18" fmla="*/ 517 w 1124"/>
                  <a:gd name="T19" fmla="*/ 225 h 1485"/>
                  <a:gd name="T20" fmla="*/ 577 w 1124"/>
                  <a:gd name="T21" fmla="*/ 278 h 1485"/>
                  <a:gd name="T22" fmla="*/ 524 w 1124"/>
                  <a:gd name="T23" fmla="*/ 316 h 1485"/>
                  <a:gd name="T24" fmla="*/ 459 w 1124"/>
                  <a:gd name="T25" fmla="*/ 257 h 1485"/>
                  <a:gd name="T26" fmla="*/ 375 w 1124"/>
                  <a:gd name="T27" fmla="*/ 258 h 1485"/>
                  <a:gd name="T28" fmla="*/ 223 w 1124"/>
                  <a:gd name="T29" fmla="*/ 376 h 1485"/>
                  <a:gd name="T30" fmla="*/ 309 w 1124"/>
                  <a:gd name="T31" fmla="*/ 5 h 1485"/>
                  <a:gd name="T32" fmla="*/ 223 w 1124"/>
                  <a:gd name="T33" fmla="*/ 161 h 1485"/>
                  <a:gd name="T34" fmla="*/ 86 w 1124"/>
                  <a:gd name="T35" fmla="*/ 5 h 1485"/>
                  <a:gd name="T36" fmla="*/ 0 w 1124"/>
                  <a:gd name="T37" fmla="*/ 376 h 1485"/>
                  <a:gd name="T38" fmla="*/ 86 w 1124"/>
                  <a:gd name="T39" fmla="*/ 227 h 1485"/>
                  <a:gd name="T40" fmla="*/ 223 w 1124"/>
                  <a:gd name="T41" fmla="*/ 376 h 1485"/>
                  <a:gd name="T42" fmla="*/ 820 w 1124"/>
                  <a:gd name="T43" fmla="*/ 1115 h 1485"/>
                  <a:gd name="T44" fmla="*/ 818 w 1124"/>
                  <a:gd name="T45" fmla="*/ 925 h 1485"/>
                  <a:gd name="T46" fmla="*/ 968 w 1124"/>
                  <a:gd name="T47" fmla="*/ 788 h 1485"/>
                  <a:gd name="T48" fmla="*/ 772 w 1124"/>
                  <a:gd name="T49" fmla="*/ 850 h 1485"/>
                  <a:gd name="T50" fmla="*/ 609 w 1124"/>
                  <a:gd name="T51" fmla="*/ 601 h 1485"/>
                  <a:gd name="T52" fmla="*/ 521 w 1124"/>
                  <a:gd name="T53" fmla="*/ 601 h 1485"/>
                  <a:gd name="T54" fmla="*/ 360 w 1124"/>
                  <a:gd name="T55" fmla="*/ 850 h 1485"/>
                  <a:gd name="T56" fmla="*/ 165 w 1124"/>
                  <a:gd name="T57" fmla="*/ 788 h 1485"/>
                  <a:gd name="T58" fmla="*/ 316 w 1124"/>
                  <a:gd name="T59" fmla="*/ 925 h 1485"/>
                  <a:gd name="T60" fmla="*/ 314 w 1124"/>
                  <a:gd name="T61" fmla="*/ 1115 h 1485"/>
                  <a:gd name="T62" fmla="*/ 165 w 1124"/>
                  <a:gd name="T63" fmla="*/ 1251 h 1485"/>
                  <a:gd name="T64" fmla="*/ 225 w 1124"/>
                  <a:gd name="T65" fmla="*/ 1267 h 1485"/>
                  <a:gd name="T66" fmla="*/ 521 w 1124"/>
                  <a:gd name="T67" fmla="*/ 1289 h 1485"/>
                  <a:gd name="T68" fmla="*/ 565 w 1124"/>
                  <a:gd name="T69" fmla="*/ 1485 h 1485"/>
                  <a:gd name="T70" fmla="*/ 609 w 1124"/>
                  <a:gd name="T71" fmla="*/ 1289 h 1485"/>
                  <a:gd name="T72" fmla="*/ 909 w 1124"/>
                  <a:gd name="T73" fmla="*/ 1267 h 1485"/>
                  <a:gd name="T74" fmla="*/ 969 w 1124"/>
                  <a:gd name="T75" fmla="*/ 1251 h 1485"/>
                  <a:gd name="T76" fmla="*/ 1011 w 1124"/>
                  <a:gd name="T77" fmla="*/ 5 h 1485"/>
                  <a:gd name="T78" fmla="*/ 926 w 1124"/>
                  <a:gd name="T79" fmla="*/ 265 h 1485"/>
                  <a:gd name="T80" fmla="*/ 730 w 1124"/>
                  <a:gd name="T81" fmla="*/ 5 h 1485"/>
                  <a:gd name="T82" fmla="*/ 816 w 1124"/>
                  <a:gd name="T83" fmla="*/ 376 h 1485"/>
                  <a:gd name="T84" fmla="*/ 817 w 1124"/>
                  <a:gd name="T85" fmla="*/ 140 h 1485"/>
                  <a:gd name="T86" fmla="*/ 955 w 1124"/>
                  <a:gd name="T87" fmla="*/ 376 h 1485"/>
                  <a:gd name="T88" fmla="*/ 1038 w 1124"/>
                  <a:gd name="T89" fmla="*/ 137 h 1485"/>
                  <a:gd name="T90" fmla="*/ 1124 w 1124"/>
                  <a:gd name="T91" fmla="*/ 376 h 1485"/>
                  <a:gd name="T92" fmla="*/ 1011 w 1124"/>
                  <a:gd name="T93" fmla="*/ 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24" h="1485">
                    <a:moveTo>
                      <a:pt x="417" y="351"/>
                    </a:moveTo>
                    <a:cubicBezTo>
                      <a:pt x="446" y="371"/>
                      <a:pt x="482" y="381"/>
                      <a:pt x="524" y="381"/>
                    </a:cubicBezTo>
                    <a:cubicBezTo>
                      <a:pt x="566" y="381"/>
                      <a:pt x="599" y="372"/>
                      <a:pt x="625" y="353"/>
                    </a:cubicBezTo>
                    <a:cubicBezTo>
                      <a:pt x="650" y="335"/>
                      <a:pt x="663" y="310"/>
                      <a:pt x="663" y="277"/>
                    </a:cubicBezTo>
                    <a:cubicBezTo>
                      <a:pt x="663" y="245"/>
                      <a:pt x="652" y="220"/>
                      <a:pt x="630" y="202"/>
                    </a:cubicBezTo>
                    <a:cubicBezTo>
                      <a:pt x="608" y="183"/>
                      <a:pt x="575" y="168"/>
                      <a:pt x="533" y="155"/>
                    </a:cubicBezTo>
                    <a:cubicBezTo>
                      <a:pt x="507" y="145"/>
                      <a:pt x="490" y="137"/>
                      <a:pt x="481" y="131"/>
                    </a:cubicBezTo>
                    <a:cubicBezTo>
                      <a:pt x="472" y="124"/>
                      <a:pt x="467" y="115"/>
                      <a:pt x="467" y="105"/>
                    </a:cubicBezTo>
                    <a:cubicBezTo>
                      <a:pt x="467" y="93"/>
                      <a:pt x="471" y="84"/>
                      <a:pt x="480" y="76"/>
                    </a:cubicBezTo>
                    <a:cubicBezTo>
                      <a:pt x="489" y="69"/>
                      <a:pt x="502" y="65"/>
                      <a:pt x="517" y="65"/>
                    </a:cubicBezTo>
                    <a:cubicBezTo>
                      <a:pt x="536" y="65"/>
                      <a:pt x="551" y="69"/>
                      <a:pt x="560" y="77"/>
                    </a:cubicBezTo>
                    <a:cubicBezTo>
                      <a:pt x="570" y="85"/>
                      <a:pt x="575" y="97"/>
                      <a:pt x="575" y="115"/>
                    </a:cubicBezTo>
                    <a:cubicBezTo>
                      <a:pt x="658" y="115"/>
                      <a:pt x="658" y="115"/>
                      <a:pt x="658" y="115"/>
                    </a:cubicBezTo>
                    <a:cubicBezTo>
                      <a:pt x="658" y="113"/>
                      <a:pt x="658" y="113"/>
                      <a:pt x="658" y="113"/>
                    </a:cubicBezTo>
                    <a:cubicBezTo>
                      <a:pt x="659" y="77"/>
                      <a:pt x="647" y="49"/>
                      <a:pt x="621" y="30"/>
                    </a:cubicBezTo>
                    <a:cubicBezTo>
                      <a:pt x="595" y="10"/>
                      <a:pt x="561" y="0"/>
                      <a:pt x="519" y="0"/>
                    </a:cubicBezTo>
                    <a:cubicBezTo>
                      <a:pt x="479" y="0"/>
                      <a:pt x="446" y="10"/>
                      <a:pt x="420" y="29"/>
                    </a:cubicBezTo>
                    <a:cubicBezTo>
                      <a:pt x="394" y="48"/>
                      <a:pt x="381" y="73"/>
                      <a:pt x="381" y="104"/>
                    </a:cubicBezTo>
                    <a:cubicBezTo>
                      <a:pt x="381" y="136"/>
                      <a:pt x="392" y="160"/>
                      <a:pt x="415" y="177"/>
                    </a:cubicBezTo>
                    <a:cubicBezTo>
                      <a:pt x="437" y="194"/>
                      <a:pt x="471" y="210"/>
                      <a:pt x="517" y="225"/>
                    </a:cubicBezTo>
                    <a:cubicBezTo>
                      <a:pt x="540" y="233"/>
                      <a:pt x="555" y="240"/>
                      <a:pt x="564" y="247"/>
                    </a:cubicBezTo>
                    <a:cubicBezTo>
                      <a:pt x="573" y="254"/>
                      <a:pt x="577" y="264"/>
                      <a:pt x="577" y="278"/>
                    </a:cubicBezTo>
                    <a:cubicBezTo>
                      <a:pt x="577" y="289"/>
                      <a:pt x="573" y="298"/>
                      <a:pt x="564" y="306"/>
                    </a:cubicBezTo>
                    <a:cubicBezTo>
                      <a:pt x="555" y="313"/>
                      <a:pt x="542" y="316"/>
                      <a:pt x="524" y="316"/>
                    </a:cubicBezTo>
                    <a:cubicBezTo>
                      <a:pt x="502" y="316"/>
                      <a:pt x="486" y="312"/>
                      <a:pt x="475" y="303"/>
                    </a:cubicBezTo>
                    <a:cubicBezTo>
                      <a:pt x="464" y="294"/>
                      <a:pt x="459" y="278"/>
                      <a:pt x="459" y="257"/>
                    </a:cubicBezTo>
                    <a:cubicBezTo>
                      <a:pt x="375" y="257"/>
                      <a:pt x="375" y="257"/>
                      <a:pt x="375" y="257"/>
                    </a:cubicBezTo>
                    <a:cubicBezTo>
                      <a:pt x="375" y="258"/>
                      <a:pt x="375" y="258"/>
                      <a:pt x="375" y="258"/>
                    </a:cubicBezTo>
                    <a:cubicBezTo>
                      <a:pt x="374" y="301"/>
                      <a:pt x="388" y="332"/>
                      <a:pt x="417" y="351"/>
                    </a:cubicBezTo>
                    <a:close/>
                    <a:moveTo>
                      <a:pt x="223" y="376"/>
                    </a:moveTo>
                    <a:cubicBezTo>
                      <a:pt x="309" y="376"/>
                      <a:pt x="309" y="376"/>
                      <a:pt x="309" y="376"/>
                    </a:cubicBezTo>
                    <a:cubicBezTo>
                      <a:pt x="309" y="5"/>
                      <a:pt x="309" y="5"/>
                      <a:pt x="309" y="5"/>
                    </a:cubicBezTo>
                    <a:cubicBezTo>
                      <a:pt x="223" y="5"/>
                      <a:pt x="223" y="5"/>
                      <a:pt x="223" y="5"/>
                    </a:cubicBezTo>
                    <a:cubicBezTo>
                      <a:pt x="223" y="161"/>
                      <a:pt x="223" y="161"/>
                      <a:pt x="223" y="161"/>
                    </a:cubicBezTo>
                    <a:cubicBezTo>
                      <a:pt x="86" y="161"/>
                      <a:pt x="86" y="161"/>
                      <a:pt x="86" y="161"/>
                    </a:cubicBezTo>
                    <a:cubicBezTo>
                      <a:pt x="86" y="5"/>
                      <a:pt x="86" y="5"/>
                      <a:pt x="86" y="5"/>
                    </a:cubicBezTo>
                    <a:cubicBezTo>
                      <a:pt x="0" y="5"/>
                      <a:pt x="0" y="5"/>
                      <a:pt x="0" y="5"/>
                    </a:cubicBezTo>
                    <a:cubicBezTo>
                      <a:pt x="0" y="376"/>
                      <a:pt x="0" y="376"/>
                      <a:pt x="0" y="376"/>
                    </a:cubicBezTo>
                    <a:cubicBezTo>
                      <a:pt x="86" y="376"/>
                      <a:pt x="86" y="376"/>
                      <a:pt x="86" y="376"/>
                    </a:cubicBezTo>
                    <a:cubicBezTo>
                      <a:pt x="86" y="227"/>
                      <a:pt x="86" y="227"/>
                      <a:pt x="86" y="227"/>
                    </a:cubicBezTo>
                    <a:cubicBezTo>
                      <a:pt x="223" y="227"/>
                      <a:pt x="223" y="227"/>
                      <a:pt x="223" y="227"/>
                    </a:cubicBezTo>
                    <a:lnTo>
                      <a:pt x="223" y="376"/>
                    </a:lnTo>
                    <a:close/>
                    <a:moveTo>
                      <a:pt x="953" y="1192"/>
                    </a:moveTo>
                    <a:cubicBezTo>
                      <a:pt x="820" y="1115"/>
                      <a:pt x="820" y="1115"/>
                      <a:pt x="820" y="1115"/>
                    </a:cubicBezTo>
                    <a:cubicBezTo>
                      <a:pt x="830" y="1087"/>
                      <a:pt x="836" y="1056"/>
                      <a:pt x="836" y="1023"/>
                    </a:cubicBezTo>
                    <a:cubicBezTo>
                      <a:pt x="836" y="989"/>
                      <a:pt x="829" y="956"/>
                      <a:pt x="818" y="925"/>
                    </a:cubicBezTo>
                    <a:cubicBezTo>
                      <a:pt x="952" y="847"/>
                      <a:pt x="952" y="847"/>
                      <a:pt x="952" y="847"/>
                    </a:cubicBezTo>
                    <a:cubicBezTo>
                      <a:pt x="973" y="835"/>
                      <a:pt x="980" y="809"/>
                      <a:pt x="968" y="788"/>
                    </a:cubicBezTo>
                    <a:cubicBezTo>
                      <a:pt x="956" y="767"/>
                      <a:pt x="929" y="760"/>
                      <a:pt x="908" y="772"/>
                    </a:cubicBezTo>
                    <a:cubicBezTo>
                      <a:pt x="772" y="850"/>
                      <a:pt x="772" y="850"/>
                      <a:pt x="772" y="850"/>
                    </a:cubicBezTo>
                    <a:cubicBezTo>
                      <a:pt x="732" y="802"/>
                      <a:pt x="674" y="768"/>
                      <a:pt x="609" y="758"/>
                    </a:cubicBezTo>
                    <a:cubicBezTo>
                      <a:pt x="609" y="601"/>
                      <a:pt x="609" y="601"/>
                      <a:pt x="609" y="601"/>
                    </a:cubicBezTo>
                    <a:cubicBezTo>
                      <a:pt x="609" y="577"/>
                      <a:pt x="589" y="558"/>
                      <a:pt x="565" y="558"/>
                    </a:cubicBezTo>
                    <a:cubicBezTo>
                      <a:pt x="541" y="558"/>
                      <a:pt x="521" y="577"/>
                      <a:pt x="521" y="601"/>
                    </a:cubicBezTo>
                    <a:cubicBezTo>
                      <a:pt x="521" y="758"/>
                      <a:pt x="521" y="758"/>
                      <a:pt x="521" y="758"/>
                    </a:cubicBezTo>
                    <a:cubicBezTo>
                      <a:pt x="456" y="768"/>
                      <a:pt x="400" y="802"/>
                      <a:pt x="360" y="850"/>
                    </a:cubicBezTo>
                    <a:cubicBezTo>
                      <a:pt x="225" y="772"/>
                      <a:pt x="225" y="772"/>
                      <a:pt x="225" y="772"/>
                    </a:cubicBezTo>
                    <a:cubicBezTo>
                      <a:pt x="204" y="760"/>
                      <a:pt x="177" y="767"/>
                      <a:pt x="165" y="788"/>
                    </a:cubicBezTo>
                    <a:cubicBezTo>
                      <a:pt x="153" y="809"/>
                      <a:pt x="160" y="835"/>
                      <a:pt x="181" y="847"/>
                    </a:cubicBezTo>
                    <a:cubicBezTo>
                      <a:pt x="316" y="925"/>
                      <a:pt x="316" y="925"/>
                      <a:pt x="316" y="925"/>
                    </a:cubicBezTo>
                    <a:cubicBezTo>
                      <a:pt x="304" y="956"/>
                      <a:pt x="298" y="989"/>
                      <a:pt x="298" y="1023"/>
                    </a:cubicBezTo>
                    <a:cubicBezTo>
                      <a:pt x="298" y="1056"/>
                      <a:pt x="303" y="1087"/>
                      <a:pt x="314" y="1115"/>
                    </a:cubicBezTo>
                    <a:cubicBezTo>
                      <a:pt x="181" y="1192"/>
                      <a:pt x="181" y="1192"/>
                      <a:pt x="181" y="1192"/>
                    </a:cubicBezTo>
                    <a:cubicBezTo>
                      <a:pt x="160" y="1204"/>
                      <a:pt x="153" y="1231"/>
                      <a:pt x="165" y="1251"/>
                    </a:cubicBezTo>
                    <a:cubicBezTo>
                      <a:pt x="173" y="1265"/>
                      <a:pt x="188" y="1273"/>
                      <a:pt x="203" y="1273"/>
                    </a:cubicBezTo>
                    <a:cubicBezTo>
                      <a:pt x="210" y="1273"/>
                      <a:pt x="218" y="1271"/>
                      <a:pt x="225" y="1267"/>
                    </a:cubicBezTo>
                    <a:cubicBezTo>
                      <a:pt x="356" y="1191"/>
                      <a:pt x="356" y="1191"/>
                      <a:pt x="356" y="1191"/>
                    </a:cubicBezTo>
                    <a:cubicBezTo>
                      <a:pt x="397" y="1242"/>
                      <a:pt x="456" y="1278"/>
                      <a:pt x="521" y="1289"/>
                    </a:cubicBezTo>
                    <a:cubicBezTo>
                      <a:pt x="521" y="1441"/>
                      <a:pt x="521" y="1441"/>
                      <a:pt x="521" y="1441"/>
                    </a:cubicBezTo>
                    <a:cubicBezTo>
                      <a:pt x="521" y="1466"/>
                      <a:pt x="541" y="1485"/>
                      <a:pt x="565" y="1485"/>
                    </a:cubicBezTo>
                    <a:cubicBezTo>
                      <a:pt x="589" y="1485"/>
                      <a:pt x="609" y="1466"/>
                      <a:pt x="609" y="1441"/>
                    </a:cubicBezTo>
                    <a:cubicBezTo>
                      <a:pt x="609" y="1289"/>
                      <a:pt x="609" y="1289"/>
                      <a:pt x="609" y="1289"/>
                    </a:cubicBezTo>
                    <a:cubicBezTo>
                      <a:pt x="680" y="1278"/>
                      <a:pt x="735" y="1242"/>
                      <a:pt x="776" y="1191"/>
                    </a:cubicBezTo>
                    <a:cubicBezTo>
                      <a:pt x="909" y="1267"/>
                      <a:pt x="909" y="1267"/>
                      <a:pt x="909" y="1267"/>
                    </a:cubicBezTo>
                    <a:cubicBezTo>
                      <a:pt x="916" y="1271"/>
                      <a:pt x="923" y="1273"/>
                      <a:pt x="931" y="1273"/>
                    </a:cubicBezTo>
                    <a:cubicBezTo>
                      <a:pt x="946" y="1273"/>
                      <a:pt x="960" y="1265"/>
                      <a:pt x="969" y="1251"/>
                    </a:cubicBezTo>
                    <a:cubicBezTo>
                      <a:pt x="981" y="1231"/>
                      <a:pt x="973" y="1204"/>
                      <a:pt x="953" y="1192"/>
                    </a:cubicBezTo>
                    <a:close/>
                    <a:moveTo>
                      <a:pt x="1011" y="5"/>
                    </a:moveTo>
                    <a:cubicBezTo>
                      <a:pt x="927" y="265"/>
                      <a:pt x="927" y="265"/>
                      <a:pt x="927" y="265"/>
                    </a:cubicBezTo>
                    <a:cubicBezTo>
                      <a:pt x="926" y="265"/>
                      <a:pt x="926" y="265"/>
                      <a:pt x="926" y="265"/>
                    </a:cubicBezTo>
                    <a:cubicBezTo>
                      <a:pt x="843" y="5"/>
                      <a:pt x="843" y="5"/>
                      <a:pt x="843" y="5"/>
                    </a:cubicBezTo>
                    <a:cubicBezTo>
                      <a:pt x="730" y="5"/>
                      <a:pt x="730" y="5"/>
                      <a:pt x="730" y="5"/>
                    </a:cubicBezTo>
                    <a:cubicBezTo>
                      <a:pt x="730" y="376"/>
                      <a:pt x="730" y="376"/>
                      <a:pt x="730" y="376"/>
                    </a:cubicBezTo>
                    <a:cubicBezTo>
                      <a:pt x="816" y="376"/>
                      <a:pt x="816" y="376"/>
                      <a:pt x="816" y="376"/>
                    </a:cubicBezTo>
                    <a:cubicBezTo>
                      <a:pt x="816" y="141"/>
                      <a:pt x="816" y="141"/>
                      <a:pt x="816" y="141"/>
                    </a:cubicBezTo>
                    <a:cubicBezTo>
                      <a:pt x="817" y="140"/>
                      <a:pt x="817" y="140"/>
                      <a:pt x="817" y="140"/>
                    </a:cubicBezTo>
                    <a:cubicBezTo>
                      <a:pt x="898" y="376"/>
                      <a:pt x="898" y="376"/>
                      <a:pt x="898" y="376"/>
                    </a:cubicBezTo>
                    <a:cubicBezTo>
                      <a:pt x="955" y="376"/>
                      <a:pt x="955" y="376"/>
                      <a:pt x="955" y="376"/>
                    </a:cubicBezTo>
                    <a:cubicBezTo>
                      <a:pt x="1037" y="137"/>
                      <a:pt x="1037" y="137"/>
                      <a:pt x="1037" y="137"/>
                    </a:cubicBezTo>
                    <a:cubicBezTo>
                      <a:pt x="1038" y="137"/>
                      <a:pt x="1038" y="137"/>
                      <a:pt x="1038" y="137"/>
                    </a:cubicBezTo>
                    <a:cubicBezTo>
                      <a:pt x="1038" y="376"/>
                      <a:pt x="1038" y="376"/>
                      <a:pt x="1038" y="376"/>
                    </a:cubicBezTo>
                    <a:cubicBezTo>
                      <a:pt x="1124" y="376"/>
                      <a:pt x="1124" y="376"/>
                      <a:pt x="1124" y="376"/>
                    </a:cubicBezTo>
                    <a:cubicBezTo>
                      <a:pt x="1124" y="5"/>
                      <a:pt x="1124" y="5"/>
                      <a:pt x="1124" y="5"/>
                    </a:cubicBezTo>
                    <a:lnTo>
                      <a:pt x="1011"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grpSp>
        <p:pic>
          <p:nvPicPr>
            <p:cNvPr id="152" name="Picture 3" descr="C:\Users\Helga\#Business\Utimaco\Industry_Case_Studies_Icons\_Export\20160524\Icons_Industry_Case_Studies_e_Health.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99191" y="3068368"/>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4" descr="C:\Users\Helga\#Business\Utimaco\Industry_Case_Studies_Icons\_Export\20160524\Icons_Industry_Case_Studies_e_I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63192" y="2219334"/>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063819" y="1273126"/>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6" descr="C:\Users\Helga\#Business\Utimaco\Industry_Case_Studies_Icons\_Export\20160524\Icons_Industry_Case_Studies_Entertainmen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42344" y="1514086"/>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7" descr="C:\Users\Helga\#Business\Utimaco\Industry_Case_Studies_Icons\_Export\20160524\Icons_Industry_Case_Studies_Financ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758266" y="2335642"/>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8"/>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799467" y="1486728"/>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9" descr="C:\Users\Helga\#Business\Utimaco\Industry_Case_Studies_Icons\_Export\20160524\Icons_Industry_Case_Studies_Smart_Grid.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34691" y="2502384"/>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10" descr="C:\Users\Helga\#Business\Utimaco\Industry_Case_Studies_Icons\_Export\20160524\Icons_Industry_Case_Studies_Telecommunicatio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67388" y="862513"/>
              <a:ext cx="566042" cy="56604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1" descr="C:\Users\Helga\#Business\Utimaco\Industry_Case_Studies_Icons\_Export\20160524\Icons_Industry_Case_Studies_Automotiv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98495" y="3001578"/>
              <a:ext cx="566042" cy="566042"/>
            </a:xfrm>
            <a:prstGeom prst="rect">
              <a:avLst/>
            </a:prstGeom>
            <a:noFill/>
            <a:extLst>
              <a:ext uri="{909E8E84-426E-40DD-AFC4-6F175D3DCCD1}">
                <a14:hiddenFill xmlns:a14="http://schemas.microsoft.com/office/drawing/2010/main">
                  <a:solidFill>
                    <a:srgbClr val="FFFFFF"/>
                  </a:solidFill>
                </a14:hiddenFill>
              </a:ext>
            </a:extLst>
          </p:spPr>
        </p:pic>
        <p:sp>
          <p:nvSpPr>
            <p:cNvPr id="161" name="Oval 42"/>
            <p:cNvSpPr/>
            <p:nvPr/>
          </p:nvSpPr>
          <p:spPr>
            <a:xfrm>
              <a:off x="5707513" y="783336"/>
              <a:ext cx="566532" cy="56653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162" name="Picture 2" descr="C:\Users\Helga\#Business\Utimaco\Industry_Case_Studies_Icons\_Export\20160524\Icons_Industry_Case_Studies_Cloud.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707454" y="783826"/>
              <a:ext cx="566042" cy="5660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uppieren 18"/>
          <p:cNvGrpSpPr/>
          <p:nvPr/>
        </p:nvGrpSpPr>
        <p:grpSpPr>
          <a:xfrm>
            <a:off x="1007313" y="3016794"/>
            <a:ext cx="3921470" cy="890106"/>
            <a:chOff x="1007313" y="3147163"/>
            <a:chExt cx="3921470" cy="890106"/>
          </a:xfrm>
        </p:grpSpPr>
        <p:sp>
          <p:nvSpPr>
            <p:cNvPr id="132" name="Rectangle 40">
              <a:extLst>
                <a:ext uri="{FF2B5EF4-FFF2-40B4-BE49-F238E27FC236}">
                  <a16:creationId xmlns="" xmlns:a16="http://schemas.microsoft.com/office/drawing/2014/main" id="{8E4E1D36-23C0-47A8-BA90-17331E695CE8}"/>
                </a:ext>
              </a:extLst>
            </p:cNvPr>
            <p:cNvSpPr/>
            <p:nvPr/>
          </p:nvSpPr>
          <p:spPr>
            <a:xfrm>
              <a:off x="1977344" y="3188685"/>
              <a:ext cx="2951439" cy="432488"/>
            </a:xfrm>
            <a:prstGeom prst="rect">
              <a:avLst/>
            </a:prstGeom>
          </p:spPr>
          <p:txBody>
            <a:bodyPr wrap="square" lIns="0" tIns="0" rIns="0" bIns="0">
              <a:noAutofit/>
            </a:bodyPr>
            <a:lstStyle/>
            <a:p>
              <a:r>
                <a:rPr lang="en-US" b="1" dirty="0">
                  <a:solidFill>
                    <a:schemeClr val="accent4"/>
                  </a:solidFill>
                </a:rPr>
                <a:t>#1 </a:t>
              </a:r>
              <a:r>
                <a:rPr lang="en-US" sz="1600" dirty="0"/>
                <a:t>in Telecom </a:t>
              </a:r>
              <a:br>
                <a:rPr lang="en-US" sz="1600" dirty="0"/>
              </a:br>
              <a:r>
                <a:rPr lang="en-US" sz="1600" dirty="0"/>
                <a:t>Compliance Solutions</a:t>
              </a:r>
            </a:p>
          </p:txBody>
        </p:sp>
        <p:grpSp>
          <p:nvGrpSpPr>
            <p:cNvPr id="18" name="Gruppieren 17"/>
            <p:cNvGrpSpPr/>
            <p:nvPr/>
          </p:nvGrpSpPr>
          <p:grpSpPr>
            <a:xfrm>
              <a:off x="1007313" y="3147163"/>
              <a:ext cx="790878" cy="890106"/>
              <a:chOff x="1007313" y="3147163"/>
              <a:chExt cx="790878" cy="890106"/>
            </a:xfrm>
          </p:grpSpPr>
          <p:grpSp>
            <p:nvGrpSpPr>
              <p:cNvPr id="139" name="Gruppieren 138"/>
              <p:cNvGrpSpPr/>
              <p:nvPr/>
            </p:nvGrpSpPr>
            <p:grpSpPr>
              <a:xfrm>
                <a:off x="1007313" y="3147163"/>
                <a:ext cx="790878" cy="890106"/>
                <a:chOff x="241020" y="3427090"/>
                <a:chExt cx="790878" cy="890106"/>
              </a:xfrm>
            </p:grpSpPr>
            <p:sp>
              <p:nvSpPr>
                <p:cNvPr id="140" name="Freeform 23"/>
                <p:cNvSpPr>
                  <a:spLocks noEditPoints="1"/>
                </p:cNvSpPr>
                <p:nvPr/>
              </p:nvSpPr>
              <p:spPr bwMode="auto">
                <a:xfrm>
                  <a:off x="241020" y="3427090"/>
                  <a:ext cx="790878" cy="494174"/>
                </a:xfrm>
                <a:custGeom>
                  <a:avLst/>
                  <a:gdLst>
                    <a:gd name="T0" fmla="*/ 57 w 1820"/>
                    <a:gd name="T1" fmla="*/ 398 h 1137"/>
                    <a:gd name="T2" fmla="*/ 739 w 1820"/>
                    <a:gd name="T3" fmla="*/ 1137 h 1137"/>
                    <a:gd name="T4" fmla="*/ 1081 w 1820"/>
                    <a:gd name="T5" fmla="*/ 1137 h 1137"/>
                    <a:gd name="T6" fmla="*/ 1763 w 1820"/>
                    <a:gd name="T7" fmla="*/ 398 h 1137"/>
                    <a:gd name="T8" fmla="*/ 1479 w 1820"/>
                    <a:gd name="T9" fmla="*/ 0 h 1137"/>
                    <a:gd name="T10" fmla="*/ 341 w 1820"/>
                    <a:gd name="T11" fmla="*/ 0 h 1137"/>
                    <a:gd name="T12" fmla="*/ 57 w 1820"/>
                    <a:gd name="T13" fmla="*/ 398 h 1137"/>
                    <a:gd name="T14" fmla="*/ 910 w 1820"/>
                    <a:gd name="T15" fmla="*/ 341 h 1137"/>
                    <a:gd name="T16" fmla="*/ 1252 w 1820"/>
                    <a:gd name="T17" fmla="*/ 455 h 1137"/>
                    <a:gd name="T18" fmla="*/ 910 w 1820"/>
                    <a:gd name="T19" fmla="*/ 797 h 1137"/>
                    <a:gd name="T20" fmla="*/ 569 w 1820"/>
                    <a:gd name="T21" fmla="*/ 455 h 1137"/>
                    <a:gd name="T22" fmla="*/ 910 w 1820"/>
                    <a:gd name="T23" fmla="*/ 341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0" h="1137">
                      <a:moveTo>
                        <a:pt x="57" y="398"/>
                      </a:moveTo>
                      <a:cubicBezTo>
                        <a:pt x="148" y="581"/>
                        <a:pt x="739" y="1137"/>
                        <a:pt x="739" y="1137"/>
                      </a:cubicBezTo>
                      <a:cubicBezTo>
                        <a:pt x="1081" y="1137"/>
                        <a:pt x="1081" y="1137"/>
                        <a:pt x="1081" y="1137"/>
                      </a:cubicBezTo>
                      <a:cubicBezTo>
                        <a:pt x="1081" y="1137"/>
                        <a:pt x="1650" y="568"/>
                        <a:pt x="1763" y="398"/>
                      </a:cubicBezTo>
                      <a:cubicBezTo>
                        <a:pt x="1820" y="284"/>
                        <a:pt x="1631" y="0"/>
                        <a:pt x="1479" y="0"/>
                      </a:cubicBezTo>
                      <a:cubicBezTo>
                        <a:pt x="341" y="0"/>
                        <a:pt x="341" y="0"/>
                        <a:pt x="341" y="0"/>
                      </a:cubicBezTo>
                      <a:cubicBezTo>
                        <a:pt x="173" y="0"/>
                        <a:pt x="0" y="284"/>
                        <a:pt x="57" y="398"/>
                      </a:cubicBezTo>
                      <a:close/>
                      <a:moveTo>
                        <a:pt x="910" y="341"/>
                      </a:moveTo>
                      <a:cubicBezTo>
                        <a:pt x="1365" y="341"/>
                        <a:pt x="1337" y="370"/>
                        <a:pt x="1252" y="455"/>
                      </a:cubicBezTo>
                      <a:cubicBezTo>
                        <a:pt x="910" y="797"/>
                        <a:pt x="910" y="797"/>
                        <a:pt x="910" y="797"/>
                      </a:cubicBezTo>
                      <a:cubicBezTo>
                        <a:pt x="569" y="455"/>
                        <a:pt x="569" y="455"/>
                        <a:pt x="569" y="455"/>
                      </a:cubicBezTo>
                      <a:cubicBezTo>
                        <a:pt x="455" y="341"/>
                        <a:pt x="512" y="341"/>
                        <a:pt x="910" y="341"/>
                      </a:cubicBezTo>
                      <a:close/>
                    </a:path>
                  </a:pathLst>
                </a:custGeom>
                <a:solidFill>
                  <a:schemeClr val="accent4"/>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sz="1200"/>
                </a:p>
              </p:txBody>
            </p:sp>
            <p:sp>
              <p:nvSpPr>
                <p:cNvPr id="141" name="Freeform 24"/>
                <p:cNvSpPr>
                  <a:spLocks/>
                </p:cNvSpPr>
                <p:nvPr/>
              </p:nvSpPr>
              <p:spPr bwMode="auto">
                <a:xfrm>
                  <a:off x="350370" y="3427090"/>
                  <a:ext cx="581063" cy="188586"/>
                </a:xfrm>
                <a:custGeom>
                  <a:avLst/>
                  <a:gdLst>
                    <a:gd name="T0" fmla="*/ 266 w 1337"/>
                    <a:gd name="T1" fmla="*/ 386 h 434"/>
                    <a:gd name="T2" fmla="*/ 658 w 1337"/>
                    <a:gd name="T3" fmla="*/ 341 h 434"/>
                    <a:gd name="T4" fmla="*/ 1020 w 1337"/>
                    <a:gd name="T5" fmla="*/ 434 h 434"/>
                    <a:gd name="T6" fmla="*/ 1113 w 1337"/>
                    <a:gd name="T7" fmla="*/ 0 h 434"/>
                    <a:gd name="T8" fmla="*/ 203 w 1337"/>
                    <a:gd name="T9" fmla="*/ 0 h 434"/>
                    <a:gd name="T10" fmla="*/ 266 w 1337"/>
                    <a:gd name="T11" fmla="*/ 386 h 434"/>
                  </a:gdLst>
                  <a:ahLst/>
                  <a:cxnLst>
                    <a:cxn ang="0">
                      <a:pos x="T0" y="T1"/>
                    </a:cxn>
                    <a:cxn ang="0">
                      <a:pos x="T2" y="T3"/>
                    </a:cxn>
                    <a:cxn ang="0">
                      <a:pos x="T4" y="T5"/>
                    </a:cxn>
                    <a:cxn ang="0">
                      <a:pos x="T6" y="T7"/>
                    </a:cxn>
                    <a:cxn ang="0">
                      <a:pos x="T8" y="T9"/>
                    </a:cxn>
                    <a:cxn ang="0">
                      <a:pos x="T10" y="T11"/>
                    </a:cxn>
                  </a:cxnLst>
                  <a:rect l="0" t="0" r="r" b="b"/>
                  <a:pathLst>
                    <a:path w="1337" h="434">
                      <a:moveTo>
                        <a:pt x="266" y="386"/>
                      </a:moveTo>
                      <a:cubicBezTo>
                        <a:pt x="259" y="341"/>
                        <a:pt x="367" y="341"/>
                        <a:pt x="658" y="341"/>
                      </a:cubicBezTo>
                      <a:cubicBezTo>
                        <a:pt x="1074" y="341"/>
                        <a:pt x="1086" y="365"/>
                        <a:pt x="1020" y="434"/>
                      </a:cubicBezTo>
                      <a:cubicBezTo>
                        <a:pt x="1337" y="109"/>
                        <a:pt x="1240" y="0"/>
                        <a:pt x="1113" y="0"/>
                      </a:cubicBezTo>
                      <a:cubicBezTo>
                        <a:pt x="203" y="0"/>
                        <a:pt x="203" y="0"/>
                        <a:pt x="203" y="0"/>
                      </a:cubicBezTo>
                      <a:cubicBezTo>
                        <a:pt x="0" y="0"/>
                        <a:pt x="145" y="232"/>
                        <a:pt x="266" y="386"/>
                      </a:cubicBezTo>
                      <a:close/>
                    </a:path>
                  </a:pathLst>
                </a:custGeom>
                <a:solidFill>
                  <a:schemeClr val="accent4">
                    <a:lumMod val="60000"/>
                    <a:lumOff val="40000"/>
                  </a:schemeClr>
                </a:solidFill>
                <a:ln w="28575">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sz="1200"/>
                </a:p>
              </p:txBody>
            </p:sp>
            <p:sp>
              <p:nvSpPr>
                <p:cNvPr id="142" name="Freeform 25"/>
                <p:cNvSpPr>
                  <a:spLocks/>
                </p:cNvSpPr>
                <p:nvPr/>
              </p:nvSpPr>
              <p:spPr bwMode="auto">
                <a:xfrm>
                  <a:off x="438246" y="3896827"/>
                  <a:ext cx="395933" cy="420369"/>
                </a:xfrm>
                <a:custGeom>
                  <a:avLst/>
                  <a:gdLst>
                    <a:gd name="T0" fmla="*/ 911 w 911"/>
                    <a:gd name="T1" fmla="*/ 512 h 967"/>
                    <a:gd name="T2" fmla="*/ 678 w 911"/>
                    <a:gd name="T3" fmla="*/ 115 h 967"/>
                    <a:gd name="T4" fmla="*/ 684 w 911"/>
                    <a:gd name="T5" fmla="*/ 86 h 967"/>
                    <a:gd name="T6" fmla="*/ 598 w 911"/>
                    <a:gd name="T7" fmla="*/ 0 h 967"/>
                    <a:gd name="T8" fmla="*/ 313 w 911"/>
                    <a:gd name="T9" fmla="*/ 0 h 967"/>
                    <a:gd name="T10" fmla="*/ 228 w 911"/>
                    <a:gd name="T11" fmla="*/ 86 h 967"/>
                    <a:gd name="T12" fmla="*/ 233 w 911"/>
                    <a:gd name="T13" fmla="*/ 115 h 967"/>
                    <a:gd name="T14" fmla="*/ 0 w 911"/>
                    <a:gd name="T15" fmla="*/ 512 h 967"/>
                    <a:gd name="T16" fmla="*/ 455 w 911"/>
                    <a:gd name="T17" fmla="*/ 967 h 967"/>
                    <a:gd name="T18" fmla="*/ 911 w 911"/>
                    <a:gd name="T19" fmla="*/ 512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1" h="967">
                      <a:moveTo>
                        <a:pt x="911" y="512"/>
                      </a:moveTo>
                      <a:cubicBezTo>
                        <a:pt x="911" y="341"/>
                        <a:pt x="817" y="193"/>
                        <a:pt x="678" y="115"/>
                      </a:cubicBezTo>
                      <a:cubicBezTo>
                        <a:pt x="681" y="106"/>
                        <a:pt x="684" y="96"/>
                        <a:pt x="684" y="86"/>
                      </a:cubicBezTo>
                      <a:cubicBezTo>
                        <a:pt x="684" y="39"/>
                        <a:pt x="645" y="0"/>
                        <a:pt x="598" y="0"/>
                      </a:cubicBezTo>
                      <a:cubicBezTo>
                        <a:pt x="313" y="0"/>
                        <a:pt x="313" y="0"/>
                        <a:pt x="313" y="0"/>
                      </a:cubicBezTo>
                      <a:cubicBezTo>
                        <a:pt x="267" y="0"/>
                        <a:pt x="228" y="38"/>
                        <a:pt x="228" y="86"/>
                      </a:cubicBezTo>
                      <a:cubicBezTo>
                        <a:pt x="228" y="96"/>
                        <a:pt x="230" y="106"/>
                        <a:pt x="233" y="115"/>
                      </a:cubicBezTo>
                      <a:cubicBezTo>
                        <a:pt x="94" y="193"/>
                        <a:pt x="0" y="342"/>
                        <a:pt x="0" y="512"/>
                      </a:cubicBezTo>
                      <a:cubicBezTo>
                        <a:pt x="0" y="763"/>
                        <a:pt x="204" y="967"/>
                        <a:pt x="455" y="967"/>
                      </a:cubicBezTo>
                      <a:cubicBezTo>
                        <a:pt x="708" y="967"/>
                        <a:pt x="911" y="763"/>
                        <a:pt x="911" y="512"/>
                      </a:cubicBezTo>
                      <a:close/>
                    </a:path>
                  </a:pathLst>
                </a:custGeom>
                <a:solidFill>
                  <a:srgbClr val="CCD6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grpSp>
          <p:sp>
            <p:nvSpPr>
              <p:cNvPr id="89" name="Freeform 5"/>
              <p:cNvSpPr>
                <a:spLocks/>
              </p:cNvSpPr>
              <p:nvPr/>
            </p:nvSpPr>
            <p:spPr bwMode="auto">
              <a:xfrm>
                <a:off x="1328445" y="3727576"/>
                <a:ext cx="120357" cy="239682"/>
              </a:xfrm>
              <a:custGeom>
                <a:avLst/>
                <a:gdLst>
                  <a:gd name="T0" fmla="*/ 817 w 817"/>
                  <a:gd name="T1" fmla="*/ 1627 h 1627"/>
                  <a:gd name="T2" fmla="*/ 409 w 817"/>
                  <a:gd name="T3" fmla="*/ 1627 h 1627"/>
                  <a:gd name="T4" fmla="*/ 409 w 817"/>
                  <a:gd name="T5" fmla="*/ 430 h 1627"/>
                  <a:gd name="T6" fmla="*/ 0 w 817"/>
                  <a:gd name="T7" fmla="*/ 526 h 1627"/>
                  <a:gd name="T8" fmla="*/ 0 w 817"/>
                  <a:gd name="T9" fmla="*/ 239 h 1627"/>
                  <a:gd name="T10" fmla="*/ 766 w 817"/>
                  <a:gd name="T11" fmla="*/ 0 h 1627"/>
                  <a:gd name="T12" fmla="*/ 817 w 817"/>
                  <a:gd name="T13" fmla="*/ 0 h 1627"/>
                  <a:gd name="T14" fmla="*/ 817 w 817"/>
                  <a:gd name="T15" fmla="*/ 1627 h 16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7" h="1627">
                    <a:moveTo>
                      <a:pt x="817" y="1627"/>
                    </a:moveTo>
                    <a:lnTo>
                      <a:pt x="409" y="1627"/>
                    </a:lnTo>
                    <a:lnTo>
                      <a:pt x="409" y="430"/>
                    </a:lnTo>
                    <a:lnTo>
                      <a:pt x="0" y="526"/>
                    </a:lnTo>
                    <a:lnTo>
                      <a:pt x="0" y="239"/>
                    </a:lnTo>
                    <a:lnTo>
                      <a:pt x="766" y="0"/>
                    </a:lnTo>
                    <a:lnTo>
                      <a:pt x="817" y="0"/>
                    </a:lnTo>
                    <a:lnTo>
                      <a:pt x="817" y="1627"/>
                    </a:lnTo>
                    <a:close/>
                  </a:path>
                </a:pathLst>
              </a:custGeom>
              <a:solidFill>
                <a:srgbClr val="627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200"/>
              </a:p>
            </p:txBody>
          </p:sp>
        </p:grpSp>
      </p:grpSp>
      <p:grpSp>
        <p:nvGrpSpPr>
          <p:cNvPr id="57" name="Gruppieren 56"/>
          <p:cNvGrpSpPr/>
          <p:nvPr/>
        </p:nvGrpSpPr>
        <p:grpSpPr>
          <a:xfrm>
            <a:off x="7997705" y="2492654"/>
            <a:ext cx="5002798" cy="856529"/>
            <a:chOff x="7997705" y="2916220"/>
            <a:chExt cx="5002798" cy="856529"/>
          </a:xfrm>
        </p:grpSpPr>
        <p:sp>
          <p:nvSpPr>
            <p:cNvPr id="145" name="Rectangle 40">
              <a:extLst>
                <a:ext uri="{FF2B5EF4-FFF2-40B4-BE49-F238E27FC236}">
                  <a16:creationId xmlns="" xmlns:a16="http://schemas.microsoft.com/office/drawing/2014/main" id="{98D14199-BB5C-4649-8593-4F10D22A705B}"/>
                </a:ext>
              </a:extLst>
            </p:cNvPr>
            <p:cNvSpPr/>
            <p:nvPr/>
          </p:nvSpPr>
          <p:spPr>
            <a:xfrm>
              <a:off x="8803307" y="2916220"/>
              <a:ext cx="4197196" cy="856529"/>
            </a:xfrm>
            <a:prstGeom prst="rect">
              <a:avLst/>
            </a:prstGeom>
          </p:spPr>
          <p:txBody>
            <a:bodyPr wrap="square" lIns="0" tIns="0" rIns="0" bIns="0">
              <a:noAutofit/>
            </a:bodyPr>
            <a:lstStyle/>
            <a:p>
              <a:r>
                <a:rPr lang="en-US" b="1" dirty="0">
                  <a:solidFill>
                    <a:srgbClr val="0068B4"/>
                  </a:solidFill>
                </a:rPr>
                <a:t>50+ </a:t>
              </a:r>
              <a:r>
                <a:rPr lang="en-US" sz="1600" dirty="0"/>
                <a:t>years in IT and </a:t>
              </a:r>
              <a:endParaRPr lang="en-US" dirty="0"/>
            </a:p>
            <a:p>
              <a:r>
                <a:rPr lang="en-US" b="1" dirty="0">
                  <a:solidFill>
                    <a:srgbClr val="0068B4"/>
                  </a:solidFill>
                </a:rPr>
                <a:t>35+ </a:t>
              </a:r>
              <a:r>
                <a:rPr lang="en-US" sz="1600" dirty="0"/>
                <a:t>years in IT-Security</a:t>
              </a:r>
            </a:p>
            <a:p>
              <a:endParaRPr lang="en-US" dirty="0"/>
            </a:p>
          </p:txBody>
        </p:sp>
        <p:grpSp>
          <p:nvGrpSpPr>
            <p:cNvPr id="56" name="Gruppieren 55"/>
            <p:cNvGrpSpPr/>
            <p:nvPr/>
          </p:nvGrpSpPr>
          <p:grpSpPr>
            <a:xfrm>
              <a:off x="7997705" y="2922528"/>
              <a:ext cx="633402" cy="540088"/>
              <a:chOff x="7997705" y="2922528"/>
              <a:chExt cx="633402" cy="540088"/>
            </a:xfrm>
          </p:grpSpPr>
          <p:sp>
            <p:nvSpPr>
              <p:cNvPr id="39" name="Freeform 14"/>
              <p:cNvSpPr>
                <a:spLocks/>
              </p:cNvSpPr>
              <p:nvPr/>
            </p:nvSpPr>
            <p:spPr bwMode="auto">
              <a:xfrm>
                <a:off x="7997705" y="2922528"/>
                <a:ext cx="633402" cy="540088"/>
              </a:xfrm>
              <a:custGeom>
                <a:avLst/>
                <a:gdLst>
                  <a:gd name="T0" fmla="*/ 236 w 253"/>
                  <a:gd name="T1" fmla="*/ 64 h 216"/>
                  <a:gd name="T2" fmla="*/ 209 w 253"/>
                  <a:gd name="T3" fmla="*/ 74 h 216"/>
                  <a:gd name="T4" fmla="*/ 204 w 253"/>
                  <a:gd name="T5" fmla="*/ 57 h 216"/>
                  <a:gd name="T6" fmla="*/ 218 w 253"/>
                  <a:gd name="T7" fmla="*/ 15 h 216"/>
                  <a:gd name="T8" fmla="*/ 209 w 253"/>
                  <a:gd name="T9" fmla="*/ 0 h 216"/>
                  <a:gd name="T10" fmla="*/ 193 w 253"/>
                  <a:gd name="T11" fmla="*/ 7 h 216"/>
                  <a:gd name="T12" fmla="*/ 179 w 253"/>
                  <a:gd name="T13" fmla="*/ 49 h 216"/>
                  <a:gd name="T14" fmla="*/ 185 w 253"/>
                  <a:gd name="T15" fmla="*/ 60 h 216"/>
                  <a:gd name="T16" fmla="*/ 199 w 253"/>
                  <a:gd name="T17" fmla="*/ 102 h 216"/>
                  <a:gd name="T18" fmla="*/ 149 w 253"/>
                  <a:gd name="T19" fmla="*/ 171 h 216"/>
                  <a:gd name="T20" fmla="*/ 127 w 253"/>
                  <a:gd name="T21" fmla="*/ 175 h 216"/>
                  <a:gd name="T22" fmla="*/ 104 w 253"/>
                  <a:gd name="T23" fmla="*/ 171 h 216"/>
                  <a:gd name="T24" fmla="*/ 54 w 253"/>
                  <a:gd name="T25" fmla="*/ 102 h 216"/>
                  <a:gd name="T26" fmla="*/ 68 w 253"/>
                  <a:gd name="T27" fmla="*/ 60 h 216"/>
                  <a:gd name="T28" fmla="*/ 74 w 253"/>
                  <a:gd name="T29" fmla="*/ 49 h 216"/>
                  <a:gd name="T30" fmla="*/ 60 w 253"/>
                  <a:gd name="T31" fmla="*/ 7 h 216"/>
                  <a:gd name="T32" fmla="*/ 44 w 253"/>
                  <a:gd name="T33" fmla="*/ 0 h 216"/>
                  <a:gd name="T34" fmla="*/ 35 w 253"/>
                  <a:gd name="T35" fmla="*/ 15 h 216"/>
                  <a:gd name="T36" fmla="*/ 49 w 253"/>
                  <a:gd name="T37" fmla="*/ 57 h 216"/>
                  <a:gd name="T38" fmla="*/ 44 w 253"/>
                  <a:gd name="T39" fmla="*/ 74 h 216"/>
                  <a:gd name="T40" fmla="*/ 40 w 253"/>
                  <a:gd name="T41" fmla="*/ 70 h 216"/>
                  <a:gd name="T42" fmla="*/ 5 w 253"/>
                  <a:gd name="T43" fmla="*/ 67 h 216"/>
                  <a:gd name="T44" fmla="*/ 0 w 253"/>
                  <a:gd name="T45" fmla="*/ 74 h 216"/>
                  <a:gd name="T46" fmla="*/ 14 w 253"/>
                  <a:gd name="T47" fmla="*/ 106 h 216"/>
                  <a:gd name="T48" fmla="*/ 37 w 253"/>
                  <a:gd name="T49" fmla="*/ 112 h 216"/>
                  <a:gd name="T50" fmla="*/ 43 w 253"/>
                  <a:gd name="T51" fmla="*/ 127 h 216"/>
                  <a:gd name="T52" fmla="*/ 38 w 253"/>
                  <a:gd name="T53" fmla="*/ 127 h 216"/>
                  <a:gd name="T54" fmla="*/ 7 w 253"/>
                  <a:gd name="T55" fmla="*/ 145 h 216"/>
                  <a:gd name="T56" fmla="*/ 7 w 253"/>
                  <a:gd name="T57" fmla="*/ 153 h 216"/>
                  <a:gd name="T58" fmla="*/ 38 w 253"/>
                  <a:gd name="T59" fmla="*/ 171 h 216"/>
                  <a:gd name="T60" fmla="*/ 60 w 253"/>
                  <a:gd name="T61" fmla="*/ 162 h 216"/>
                  <a:gd name="T62" fmla="*/ 74 w 253"/>
                  <a:gd name="T63" fmla="*/ 172 h 216"/>
                  <a:gd name="T64" fmla="*/ 57 w 253"/>
                  <a:gd name="T65" fmla="*/ 195 h 216"/>
                  <a:gd name="T66" fmla="*/ 55 w 253"/>
                  <a:gd name="T67" fmla="*/ 212 h 216"/>
                  <a:gd name="T68" fmla="*/ 72 w 253"/>
                  <a:gd name="T69" fmla="*/ 216 h 216"/>
                  <a:gd name="T70" fmla="*/ 95 w 253"/>
                  <a:gd name="T71" fmla="*/ 210 h 216"/>
                  <a:gd name="T72" fmla="*/ 108 w 253"/>
                  <a:gd name="T73" fmla="*/ 188 h 216"/>
                  <a:gd name="T74" fmla="*/ 145 w 253"/>
                  <a:gd name="T75" fmla="*/ 188 h 216"/>
                  <a:gd name="T76" fmla="*/ 158 w 253"/>
                  <a:gd name="T77" fmla="*/ 210 h 216"/>
                  <a:gd name="T78" fmla="*/ 181 w 253"/>
                  <a:gd name="T79" fmla="*/ 216 h 216"/>
                  <a:gd name="T80" fmla="*/ 198 w 253"/>
                  <a:gd name="T81" fmla="*/ 212 h 216"/>
                  <a:gd name="T82" fmla="*/ 196 w 253"/>
                  <a:gd name="T83" fmla="*/ 195 h 216"/>
                  <a:gd name="T84" fmla="*/ 179 w 253"/>
                  <a:gd name="T85" fmla="*/ 172 h 216"/>
                  <a:gd name="T86" fmla="*/ 193 w 253"/>
                  <a:gd name="T87" fmla="*/ 162 h 216"/>
                  <a:gd name="T88" fmla="*/ 216 w 253"/>
                  <a:gd name="T89" fmla="*/ 171 h 216"/>
                  <a:gd name="T90" fmla="*/ 246 w 253"/>
                  <a:gd name="T91" fmla="*/ 153 h 216"/>
                  <a:gd name="T92" fmla="*/ 246 w 253"/>
                  <a:gd name="T93" fmla="*/ 145 h 216"/>
                  <a:gd name="T94" fmla="*/ 215 w 253"/>
                  <a:gd name="T95" fmla="*/ 127 h 216"/>
                  <a:gd name="T96" fmla="*/ 210 w 253"/>
                  <a:gd name="T97" fmla="*/ 127 h 216"/>
                  <a:gd name="T98" fmla="*/ 216 w 253"/>
                  <a:gd name="T99" fmla="*/ 112 h 216"/>
                  <a:gd name="T100" fmla="*/ 239 w 253"/>
                  <a:gd name="T101" fmla="*/ 106 h 216"/>
                  <a:gd name="T102" fmla="*/ 253 w 253"/>
                  <a:gd name="T103" fmla="*/ 74 h 216"/>
                  <a:gd name="T104" fmla="*/ 248 w 253"/>
                  <a:gd name="T105" fmla="*/ 6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16">
                    <a:moveTo>
                      <a:pt x="248" y="67"/>
                    </a:moveTo>
                    <a:cubicBezTo>
                      <a:pt x="247" y="66"/>
                      <a:pt x="242" y="65"/>
                      <a:pt x="236" y="64"/>
                    </a:cubicBezTo>
                    <a:cubicBezTo>
                      <a:pt x="227" y="64"/>
                      <a:pt x="219" y="66"/>
                      <a:pt x="213" y="70"/>
                    </a:cubicBezTo>
                    <a:cubicBezTo>
                      <a:pt x="211" y="71"/>
                      <a:pt x="210" y="72"/>
                      <a:pt x="209" y="74"/>
                    </a:cubicBezTo>
                    <a:cubicBezTo>
                      <a:pt x="207" y="68"/>
                      <a:pt x="205" y="63"/>
                      <a:pt x="202" y="59"/>
                    </a:cubicBezTo>
                    <a:cubicBezTo>
                      <a:pt x="203" y="58"/>
                      <a:pt x="203" y="58"/>
                      <a:pt x="204" y="57"/>
                    </a:cubicBezTo>
                    <a:cubicBezTo>
                      <a:pt x="212" y="52"/>
                      <a:pt x="217" y="46"/>
                      <a:pt x="220" y="39"/>
                    </a:cubicBezTo>
                    <a:cubicBezTo>
                      <a:pt x="222" y="32"/>
                      <a:pt x="221" y="24"/>
                      <a:pt x="218" y="15"/>
                    </a:cubicBezTo>
                    <a:cubicBezTo>
                      <a:pt x="215" y="9"/>
                      <a:pt x="212" y="5"/>
                      <a:pt x="212" y="5"/>
                    </a:cubicBezTo>
                    <a:cubicBezTo>
                      <a:pt x="209" y="0"/>
                      <a:pt x="209" y="0"/>
                      <a:pt x="209" y="0"/>
                    </a:cubicBezTo>
                    <a:cubicBezTo>
                      <a:pt x="204" y="2"/>
                      <a:pt x="204" y="2"/>
                      <a:pt x="204" y="2"/>
                    </a:cubicBezTo>
                    <a:cubicBezTo>
                      <a:pt x="203" y="2"/>
                      <a:pt x="198" y="4"/>
                      <a:pt x="193" y="7"/>
                    </a:cubicBezTo>
                    <a:cubicBezTo>
                      <a:pt x="185" y="12"/>
                      <a:pt x="180" y="19"/>
                      <a:pt x="177" y="26"/>
                    </a:cubicBezTo>
                    <a:cubicBezTo>
                      <a:pt x="175" y="32"/>
                      <a:pt x="176" y="41"/>
                      <a:pt x="179" y="49"/>
                    </a:cubicBezTo>
                    <a:cubicBezTo>
                      <a:pt x="182" y="55"/>
                      <a:pt x="185" y="59"/>
                      <a:pt x="185" y="60"/>
                    </a:cubicBezTo>
                    <a:cubicBezTo>
                      <a:pt x="185" y="60"/>
                      <a:pt x="185" y="60"/>
                      <a:pt x="185" y="60"/>
                    </a:cubicBezTo>
                    <a:cubicBezTo>
                      <a:pt x="194" y="72"/>
                      <a:pt x="199" y="87"/>
                      <a:pt x="199" y="102"/>
                    </a:cubicBezTo>
                    <a:cubicBezTo>
                      <a:pt x="199" y="102"/>
                      <a:pt x="199" y="102"/>
                      <a:pt x="199" y="102"/>
                    </a:cubicBezTo>
                    <a:cubicBezTo>
                      <a:pt x="199" y="134"/>
                      <a:pt x="178" y="162"/>
                      <a:pt x="149" y="171"/>
                    </a:cubicBezTo>
                    <a:cubicBezTo>
                      <a:pt x="149" y="171"/>
                      <a:pt x="149" y="171"/>
                      <a:pt x="149" y="171"/>
                    </a:cubicBezTo>
                    <a:cubicBezTo>
                      <a:pt x="148" y="171"/>
                      <a:pt x="148" y="171"/>
                      <a:pt x="148" y="171"/>
                    </a:cubicBezTo>
                    <a:cubicBezTo>
                      <a:pt x="141" y="174"/>
                      <a:pt x="134" y="175"/>
                      <a:pt x="127" y="175"/>
                    </a:cubicBezTo>
                    <a:cubicBezTo>
                      <a:pt x="119" y="175"/>
                      <a:pt x="112" y="174"/>
                      <a:pt x="105" y="171"/>
                    </a:cubicBezTo>
                    <a:cubicBezTo>
                      <a:pt x="104" y="171"/>
                      <a:pt x="104" y="171"/>
                      <a:pt x="104" y="171"/>
                    </a:cubicBezTo>
                    <a:cubicBezTo>
                      <a:pt x="104" y="171"/>
                      <a:pt x="104" y="171"/>
                      <a:pt x="104" y="171"/>
                    </a:cubicBezTo>
                    <a:cubicBezTo>
                      <a:pt x="75" y="162"/>
                      <a:pt x="54" y="134"/>
                      <a:pt x="54" y="102"/>
                    </a:cubicBezTo>
                    <a:cubicBezTo>
                      <a:pt x="54" y="102"/>
                      <a:pt x="54" y="102"/>
                      <a:pt x="54" y="102"/>
                    </a:cubicBezTo>
                    <a:cubicBezTo>
                      <a:pt x="54" y="87"/>
                      <a:pt x="59" y="72"/>
                      <a:pt x="68" y="60"/>
                    </a:cubicBezTo>
                    <a:cubicBezTo>
                      <a:pt x="68" y="60"/>
                      <a:pt x="68" y="60"/>
                      <a:pt x="68" y="60"/>
                    </a:cubicBezTo>
                    <a:cubicBezTo>
                      <a:pt x="68" y="59"/>
                      <a:pt x="71" y="55"/>
                      <a:pt x="74" y="49"/>
                    </a:cubicBezTo>
                    <a:cubicBezTo>
                      <a:pt x="77" y="41"/>
                      <a:pt x="78" y="32"/>
                      <a:pt x="76" y="26"/>
                    </a:cubicBezTo>
                    <a:cubicBezTo>
                      <a:pt x="74" y="19"/>
                      <a:pt x="68" y="12"/>
                      <a:pt x="60" y="7"/>
                    </a:cubicBezTo>
                    <a:cubicBezTo>
                      <a:pt x="55" y="4"/>
                      <a:pt x="50" y="2"/>
                      <a:pt x="50" y="2"/>
                    </a:cubicBezTo>
                    <a:cubicBezTo>
                      <a:pt x="44" y="0"/>
                      <a:pt x="44" y="0"/>
                      <a:pt x="44" y="0"/>
                    </a:cubicBezTo>
                    <a:cubicBezTo>
                      <a:pt x="41" y="5"/>
                      <a:pt x="41" y="5"/>
                      <a:pt x="41" y="5"/>
                    </a:cubicBezTo>
                    <a:cubicBezTo>
                      <a:pt x="41" y="5"/>
                      <a:pt x="38" y="9"/>
                      <a:pt x="35" y="15"/>
                    </a:cubicBezTo>
                    <a:cubicBezTo>
                      <a:pt x="32" y="24"/>
                      <a:pt x="31" y="32"/>
                      <a:pt x="33" y="39"/>
                    </a:cubicBezTo>
                    <a:cubicBezTo>
                      <a:pt x="36" y="46"/>
                      <a:pt x="41" y="52"/>
                      <a:pt x="49" y="57"/>
                    </a:cubicBezTo>
                    <a:cubicBezTo>
                      <a:pt x="50" y="58"/>
                      <a:pt x="50" y="58"/>
                      <a:pt x="51" y="59"/>
                    </a:cubicBezTo>
                    <a:cubicBezTo>
                      <a:pt x="48" y="63"/>
                      <a:pt x="46" y="68"/>
                      <a:pt x="44" y="74"/>
                    </a:cubicBezTo>
                    <a:cubicBezTo>
                      <a:pt x="43" y="72"/>
                      <a:pt x="42" y="71"/>
                      <a:pt x="40" y="70"/>
                    </a:cubicBezTo>
                    <a:cubicBezTo>
                      <a:pt x="40" y="70"/>
                      <a:pt x="40" y="70"/>
                      <a:pt x="40" y="70"/>
                    </a:cubicBezTo>
                    <a:cubicBezTo>
                      <a:pt x="34" y="66"/>
                      <a:pt x="26" y="64"/>
                      <a:pt x="17" y="64"/>
                    </a:cubicBezTo>
                    <a:cubicBezTo>
                      <a:pt x="11" y="65"/>
                      <a:pt x="6" y="66"/>
                      <a:pt x="5" y="67"/>
                    </a:cubicBezTo>
                    <a:cubicBezTo>
                      <a:pt x="0" y="68"/>
                      <a:pt x="0" y="68"/>
                      <a:pt x="0" y="68"/>
                    </a:cubicBezTo>
                    <a:cubicBezTo>
                      <a:pt x="0" y="74"/>
                      <a:pt x="0" y="74"/>
                      <a:pt x="0" y="74"/>
                    </a:cubicBezTo>
                    <a:cubicBezTo>
                      <a:pt x="0" y="74"/>
                      <a:pt x="0" y="79"/>
                      <a:pt x="2" y="86"/>
                    </a:cubicBezTo>
                    <a:cubicBezTo>
                      <a:pt x="4" y="95"/>
                      <a:pt x="8" y="102"/>
                      <a:pt x="14" y="106"/>
                    </a:cubicBezTo>
                    <a:cubicBezTo>
                      <a:pt x="19" y="110"/>
                      <a:pt x="26" y="112"/>
                      <a:pt x="34" y="112"/>
                    </a:cubicBezTo>
                    <a:cubicBezTo>
                      <a:pt x="35" y="112"/>
                      <a:pt x="36" y="112"/>
                      <a:pt x="37" y="112"/>
                    </a:cubicBezTo>
                    <a:cubicBezTo>
                      <a:pt x="38" y="111"/>
                      <a:pt x="39" y="111"/>
                      <a:pt x="40" y="111"/>
                    </a:cubicBezTo>
                    <a:cubicBezTo>
                      <a:pt x="40" y="117"/>
                      <a:pt x="42" y="122"/>
                      <a:pt x="43" y="127"/>
                    </a:cubicBezTo>
                    <a:cubicBezTo>
                      <a:pt x="41" y="127"/>
                      <a:pt x="40" y="127"/>
                      <a:pt x="38" y="127"/>
                    </a:cubicBezTo>
                    <a:cubicBezTo>
                      <a:pt x="38" y="127"/>
                      <a:pt x="38" y="127"/>
                      <a:pt x="38" y="127"/>
                    </a:cubicBezTo>
                    <a:cubicBezTo>
                      <a:pt x="30" y="127"/>
                      <a:pt x="23" y="130"/>
                      <a:pt x="16" y="136"/>
                    </a:cubicBezTo>
                    <a:cubicBezTo>
                      <a:pt x="11" y="140"/>
                      <a:pt x="8" y="144"/>
                      <a:pt x="7" y="145"/>
                    </a:cubicBezTo>
                    <a:cubicBezTo>
                      <a:pt x="4" y="149"/>
                      <a:pt x="4" y="149"/>
                      <a:pt x="4" y="149"/>
                    </a:cubicBezTo>
                    <a:cubicBezTo>
                      <a:pt x="7" y="153"/>
                      <a:pt x="7" y="153"/>
                      <a:pt x="7" y="153"/>
                    </a:cubicBezTo>
                    <a:cubicBezTo>
                      <a:pt x="8" y="154"/>
                      <a:pt x="11" y="158"/>
                      <a:pt x="16" y="162"/>
                    </a:cubicBezTo>
                    <a:cubicBezTo>
                      <a:pt x="23" y="168"/>
                      <a:pt x="30" y="171"/>
                      <a:pt x="38" y="171"/>
                    </a:cubicBezTo>
                    <a:cubicBezTo>
                      <a:pt x="38" y="171"/>
                      <a:pt x="38" y="171"/>
                      <a:pt x="38" y="171"/>
                    </a:cubicBezTo>
                    <a:cubicBezTo>
                      <a:pt x="45" y="171"/>
                      <a:pt x="53" y="168"/>
                      <a:pt x="60" y="162"/>
                    </a:cubicBezTo>
                    <a:cubicBezTo>
                      <a:pt x="60" y="162"/>
                      <a:pt x="61" y="161"/>
                      <a:pt x="62" y="160"/>
                    </a:cubicBezTo>
                    <a:cubicBezTo>
                      <a:pt x="65" y="165"/>
                      <a:pt x="69" y="168"/>
                      <a:pt x="74" y="172"/>
                    </a:cubicBezTo>
                    <a:cubicBezTo>
                      <a:pt x="72" y="172"/>
                      <a:pt x="71" y="173"/>
                      <a:pt x="69" y="174"/>
                    </a:cubicBezTo>
                    <a:cubicBezTo>
                      <a:pt x="63" y="179"/>
                      <a:pt x="59" y="186"/>
                      <a:pt x="57" y="195"/>
                    </a:cubicBezTo>
                    <a:cubicBezTo>
                      <a:pt x="55" y="201"/>
                      <a:pt x="55" y="206"/>
                      <a:pt x="55" y="207"/>
                    </a:cubicBezTo>
                    <a:cubicBezTo>
                      <a:pt x="55" y="212"/>
                      <a:pt x="55" y="212"/>
                      <a:pt x="55" y="212"/>
                    </a:cubicBezTo>
                    <a:cubicBezTo>
                      <a:pt x="60" y="214"/>
                      <a:pt x="60" y="214"/>
                      <a:pt x="60" y="214"/>
                    </a:cubicBezTo>
                    <a:cubicBezTo>
                      <a:pt x="61" y="214"/>
                      <a:pt x="66" y="215"/>
                      <a:pt x="72" y="216"/>
                    </a:cubicBezTo>
                    <a:cubicBezTo>
                      <a:pt x="73" y="216"/>
                      <a:pt x="74" y="216"/>
                      <a:pt x="76" y="216"/>
                    </a:cubicBezTo>
                    <a:cubicBezTo>
                      <a:pt x="83" y="216"/>
                      <a:pt x="90" y="214"/>
                      <a:pt x="95" y="210"/>
                    </a:cubicBezTo>
                    <a:cubicBezTo>
                      <a:pt x="101" y="206"/>
                      <a:pt x="105" y="199"/>
                      <a:pt x="108" y="190"/>
                    </a:cubicBezTo>
                    <a:cubicBezTo>
                      <a:pt x="108" y="189"/>
                      <a:pt x="108" y="188"/>
                      <a:pt x="108" y="188"/>
                    </a:cubicBezTo>
                    <a:cubicBezTo>
                      <a:pt x="114" y="189"/>
                      <a:pt x="120" y="190"/>
                      <a:pt x="127" y="190"/>
                    </a:cubicBezTo>
                    <a:cubicBezTo>
                      <a:pt x="133" y="190"/>
                      <a:pt x="139" y="189"/>
                      <a:pt x="145" y="188"/>
                    </a:cubicBezTo>
                    <a:cubicBezTo>
                      <a:pt x="145" y="188"/>
                      <a:pt x="145" y="189"/>
                      <a:pt x="145" y="190"/>
                    </a:cubicBezTo>
                    <a:cubicBezTo>
                      <a:pt x="148" y="199"/>
                      <a:pt x="152" y="206"/>
                      <a:pt x="158" y="210"/>
                    </a:cubicBezTo>
                    <a:cubicBezTo>
                      <a:pt x="163" y="214"/>
                      <a:pt x="170" y="216"/>
                      <a:pt x="177" y="216"/>
                    </a:cubicBezTo>
                    <a:cubicBezTo>
                      <a:pt x="179" y="216"/>
                      <a:pt x="180" y="216"/>
                      <a:pt x="181" y="216"/>
                    </a:cubicBezTo>
                    <a:cubicBezTo>
                      <a:pt x="188" y="215"/>
                      <a:pt x="192" y="214"/>
                      <a:pt x="193" y="214"/>
                    </a:cubicBezTo>
                    <a:cubicBezTo>
                      <a:pt x="198" y="212"/>
                      <a:pt x="198" y="212"/>
                      <a:pt x="198" y="212"/>
                    </a:cubicBezTo>
                    <a:cubicBezTo>
                      <a:pt x="198" y="207"/>
                      <a:pt x="198" y="207"/>
                      <a:pt x="198" y="207"/>
                    </a:cubicBezTo>
                    <a:cubicBezTo>
                      <a:pt x="198" y="206"/>
                      <a:pt x="198" y="201"/>
                      <a:pt x="196" y="195"/>
                    </a:cubicBezTo>
                    <a:cubicBezTo>
                      <a:pt x="194" y="186"/>
                      <a:pt x="190" y="179"/>
                      <a:pt x="184" y="174"/>
                    </a:cubicBezTo>
                    <a:cubicBezTo>
                      <a:pt x="183" y="173"/>
                      <a:pt x="181" y="172"/>
                      <a:pt x="179" y="172"/>
                    </a:cubicBezTo>
                    <a:cubicBezTo>
                      <a:pt x="184" y="168"/>
                      <a:pt x="188" y="165"/>
                      <a:pt x="191" y="160"/>
                    </a:cubicBezTo>
                    <a:cubicBezTo>
                      <a:pt x="192" y="161"/>
                      <a:pt x="193" y="162"/>
                      <a:pt x="193" y="162"/>
                    </a:cubicBezTo>
                    <a:cubicBezTo>
                      <a:pt x="201" y="168"/>
                      <a:pt x="208" y="171"/>
                      <a:pt x="215" y="171"/>
                    </a:cubicBezTo>
                    <a:cubicBezTo>
                      <a:pt x="215" y="171"/>
                      <a:pt x="215" y="171"/>
                      <a:pt x="216" y="171"/>
                    </a:cubicBezTo>
                    <a:cubicBezTo>
                      <a:pt x="223" y="171"/>
                      <a:pt x="230" y="168"/>
                      <a:pt x="237" y="162"/>
                    </a:cubicBezTo>
                    <a:cubicBezTo>
                      <a:pt x="242" y="158"/>
                      <a:pt x="245" y="154"/>
                      <a:pt x="246" y="153"/>
                    </a:cubicBezTo>
                    <a:cubicBezTo>
                      <a:pt x="249" y="149"/>
                      <a:pt x="249" y="149"/>
                      <a:pt x="249" y="149"/>
                    </a:cubicBezTo>
                    <a:cubicBezTo>
                      <a:pt x="246" y="145"/>
                      <a:pt x="246" y="145"/>
                      <a:pt x="246" y="145"/>
                    </a:cubicBezTo>
                    <a:cubicBezTo>
                      <a:pt x="245" y="144"/>
                      <a:pt x="242" y="140"/>
                      <a:pt x="237" y="136"/>
                    </a:cubicBezTo>
                    <a:cubicBezTo>
                      <a:pt x="230" y="130"/>
                      <a:pt x="223" y="127"/>
                      <a:pt x="215" y="127"/>
                    </a:cubicBezTo>
                    <a:cubicBezTo>
                      <a:pt x="215" y="127"/>
                      <a:pt x="215" y="127"/>
                      <a:pt x="215" y="127"/>
                    </a:cubicBezTo>
                    <a:cubicBezTo>
                      <a:pt x="214" y="127"/>
                      <a:pt x="212" y="127"/>
                      <a:pt x="210" y="127"/>
                    </a:cubicBezTo>
                    <a:cubicBezTo>
                      <a:pt x="212" y="122"/>
                      <a:pt x="213" y="117"/>
                      <a:pt x="213" y="111"/>
                    </a:cubicBezTo>
                    <a:cubicBezTo>
                      <a:pt x="214" y="111"/>
                      <a:pt x="215" y="111"/>
                      <a:pt x="216" y="112"/>
                    </a:cubicBezTo>
                    <a:cubicBezTo>
                      <a:pt x="217" y="112"/>
                      <a:pt x="218" y="112"/>
                      <a:pt x="219" y="112"/>
                    </a:cubicBezTo>
                    <a:cubicBezTo>
                      <a:pt x="227" y="112"/>
                      <a:pt x="234" y="110"/>
                      <a:pt x="239" y="106"/>
                    </a:cubicBezTo>
                    <a:cubicBezTo>
                      <a:pt x="245" y="102"/>
                      <a:pt x="249" y="95"/>
                      <a:pt x="251" y="86"/>
                    </a:cubicBezTo>
                    <a:cubicBezTo>
                      <a:pt x="253" y="79"/>
                      <a:pt x="253" y="74"/>
                      <a:pt x="253" y="74"/>
                    </a:cubicBezTo>
                    <a:cubicBezTo>
                      <a:pt x="253" y="68"/>
                      <a:pt x="253" y="68"/>
                      <a:pt x="253" y="68"/>
                    </a:cubicBezTo>
                    <a:lnTo>
                      <a:pt x="248" y="6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119" name="Rectangle 40">
                <a:extLst>
                  <a:ext uri="{FF2B5EF4-FFF2-40B4-BE49-F238E27FC236}">
                    <a16:creationId xmlns="" xmlns:a16="http://schemas.microsoft.com/office/drawing/2014/main" id="{98D14199-BB5C-4649-8593-4F10D22A705B}"/>
                  </a:ext>
                </a:extLst>
              </p:cNvPr>
              <p:cNvSpPr/>
              <p:nvPr/>
            </p:nvSpPr>
            <p:spPr>
              <a:xfrm>
                <a:off x="8047635" y="3057999"/>
                <a:ext cx="533542" cy="270843"/>
              </a:xfrm>
              <a:prstGeom prst="rect">
                <a:avLst/>
              </a:prstGeom>
            </p:spPr>
            <p:txBody>
              <a:bodyPr wrap="square" lIns="0" tIns="0" rIns="0" bIns="0">
                <a:spAutoFit/>
              </a:bodyPr>
              <a:lstStyle/>
              <a:p>
                <a:pPr algn="ctr">
                  <a:lnSpc>
                    <a:spcPct val="80000"/>
                  </a:lnSpc>
                </a:pPr>
                <a:r>
                  <a:rPr lang="en-US" sz="1100" b="1" dirty="0">
                    <a:solidFill>
                      <a:schemeClr val="accent1">
                        <a:lumMod val="60000"/>
                        <a:lumOff val="40000"/>
                      </a:schemeClr>
                    </a:solidFill>
                  </a:rPr>
                  <a:t>50+</a:t>
                </a:r>
                <a:br>
                  <a:rPr lang="en-US" sz="1100" b="1" dirty="0">
                    <a:solidFill>
                      <a:schemeClr val="accent1">
                        <a:lumMod val="60000"/>
                        <a:lumOff val="40000"/>
                      </a:schemeClr>
                    </a:solidFill>
                  </a:rPr>
                </a:br>
                <a:r>
                  <a:rPr lang="en-US" sz="1100" b="1" dirty="0">
                    <a:solidFill>
                      <a:schemeClr val="accent1">
                        <a:lumMod val="60000"/>
                        <a:lumOff val="40000"/>
                      </a:schemeClr>
                    </a:solidFill>
                  </a:rPr>
                  <a:t>35+</a:t>
                </a:r>
                <a:endParaRPr lang="en-US" sz="1100" dirty="0">
                  <a:solidFill>
                    <a:schemeClr val="accent1">
                      <a:lumMod val="60000"/>
                      <a:lumOff val="40000"/>
                    </a:schemeClr>
                  </a:solidFill>
                </a:endParaRPr>
              </a:p>
            </p:txBody>
          </p:sp>
        </p:grpSp>
      </p:grpSp>
    </p:spTree>
    <p:extLst>
      <p:ext uri="{BB962C8B-B14F-4D97-AF65-F5344CB8AC3E}">
        <p14:creationId xmlns:p14="http://schemas.microsoft.com/office/powerpoint/2010/main" val="173562837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hteck 81"/>
          <p:cNvSpPr/>
          <p:nvPr/>
        </p:nvSpPr>
        <p:spPr>
          <a:xfrm>
            <a:off x="1508865" y="4004843"/>
            <a:ext cx="2340000" cy="2253421"/>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000" dirty="0"/>
          </a:p>
        </p:txBody>
      </p:sp>
      <p:sp>
        <p:nvSpPr>
          <p:cNvPr id="93" name="Rechteck 92"/>
          <p:cNvSpPr/>
          <p:nvPr/>
        </p:nvSpPr>
        <p:spPr>
          <a:xfrm>
            <a:off x="3937426" y="4004843"/>
            <a:ext cx="2340000" cy="2253421"/>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000" dirty="0"/>
          </a:p>
        </p:txBody>
      </p:sp>
      <p:sp>
        <p:nvSpPr>
          <p:cNvPr id="96" name="Rechteck 95"/>
          <p:cNvSpPr/>
          <p:nvPr/>
        </p:nvSpPr>
        <p:spPr>
          <a:xfrm>
            <a:off x="6365987" y="4004843"/>
            <a:ext cx="2340000" cy="2253421"/>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000" dirty="0"/>
          </a:p>
        </p:txBody>
      </p:sp>
      <p:sp>
        <p:nvSpPr>
          <p:cNvPr id="103" name="Rechteck 102"/>
          <p:cNvSpPr/>
          <p:nvPr/>
        </p:nvSpPr>
        <p:spPr>
          <a:xfrm>
            <a:off x="8794549" y="4004843"/>
            <a:ext cx="2340000" cy="22534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000" dirty="0"/>
          </a:p>
        </p:txBody>
      </p:sp>
      <p:pic>
        <p:nvPicPr>
          <p:cNvPr id="139" name="Picture 66">
            <a:extLst>
              <a:ext uri="{FF2B5EF4-FFF2-40B4-BE49-F238E27FC236}">
                <a16:creationId xmlns="" xmlns:a16="http://schemas.microsoft.com/office/drawing/2014/main" id="{656BAFEC-BACF-429E-8C65-66EE8FC7C871}"/>
              </a:ext>
            </a:extLst>
          </p:cNvPr>
          <p:cNvPicPr>
            <a:picLocks noChangeAspect="1"/>
          </p:cNvPicPr>
          <p:nvPr/>
        </p:nvPicPr>
        <p:blipFill rotWithShape="1">
          <a:blip r:embed="rId3"/>
          <a:srcRect l="73444" t="15719" r="3460" b="19825"/>
          <a:stretch/>
        </p:blipFill>
        <p:spPr>
          <a:xfrm>
            <a:off x="5574177" y="5286958"/>
            <a:ext cx="655320" cy="419847"/>
          </a:xfrm>
          <a:prstGeom prst="rect">
            <a:avLst/>
          </a:prstGeom>
        </p:spPr>
      </p:pic>
      <p:sp>
        <p:nvSpPr>
          <p:cNvPr id="3" name="Content Placeholder 2">
            <a:extLst>
              <a:ext uri="{FF2B5EF4-FFF2-40B4-BE49-F238E27FC236}">
                <a16:creationId xmlns="" xmlns:a16="http://schemas.microsoft.com/office/drawing/2014/main" id="{02014A2D-CA09-4B86-B710-BE5363D74802}"/>
              </a:ext>
            </a:extLst>
          </p:cNvPr>
          <p:cNvSpPr>
            <a:spLocks noGrp="1"/>
          </p:cNvSpPr>
          <p:nvPr>
            <p:ph sz="quarter" idx="14"/>
          </p:nvPr>
        </p:nvSpPr>
        <p:spPr/>
        <p:txBody>
          <a:bodyPr/>
          <a:lstStyle/>
          <a:p>
            <a:r>
              <a:rPr lang="de-DE" dirty="0"/>
              <a:t>Providing Security </a:t>
            </a:r>
            <a:r>
              <a:rPr lang="de-DE" dirty="0" err="1"/>
              <a:t>creates</a:t>
            </a:r>
            <a:r>
              <a:rPr lang="de-DE" dirty="0"/>
              <a:t> Trust</a:t>
            </a:r>
          </a:p>
        </p:txBody>
      </p:sp>
      <p:sp>
        <p:nvSpPr>
          <p:cNvPr id="4" name="Title 3">
            <a:extLst>
              <a:ext uri="{FF2B5EF4-FFF2-40B4-BE49-F238E27FC236}">
                <a16:creationId xmlns="" xmlns:a16="http://schemas.microsoft.com/office/drawing/2014/main" id="{1BB264C4-9B9E-4149-A8DE-79CF80D25C38}"/>
              </a:ext>
            </a:extLst>
          </p:cNvPr>
          <p:cNvSpPr>
            <a:spLocks noGrp="1"/>
          </p:cNvSpPr>
          <p:nvPr>
            <p:ph type="title"/>
          </p:nvPr>
        </p:nvSpPr>
        <p:spPr/>
        <p:txBody>
          <a:bodyPr/>
          <a:lstStyle/>
          <a:p>
            <a:r>
              <a:rPr lang="de-DE" dirty="0"/>
              <a:t>Utimaco Vision &amp; Mission </a:t>
            </a:r>
          </a:p>
        </p:txBody>
      </p:sp>
      <p:sp>
        <p:nvSpPr>
          <p:cNvPr id="43" name="Gleichschenkliges Dreieck 42"/>
          <p:cNvSpPr/>
          <p:nvPr/>
        </p:nvSpPr>
        <p:spPr>
          <a:xfrm>
            <a:off x="1508865" y="1066624"/>
            <a:ext cx="9625684" cy="820320"/>
          </a:xfrm>
          <a:prstGeom prst="triangle">
            <a:avLst/>
          </a:prstGeom>
          <a:ln w="19050">
            <a:noFill/>
          </a:ln>
        </p:spPr>
        <p:style>
          <a:lnRef idx="2">
            <a:schemeClr val="accent1">
              <a:shade val="50000"/>
            </a:schemeClr>
          </a:lnRef>
          <a:fillRef idx="1">
            <a:schemeClr val="accent1"/>
          </a:fillRef>
          <a:effectRef idx="0">
            <a:schemeClr val="accent1"/>
          </a:effectRef>
          <a:fontRef idx="minor">
            <a:schemeClr val="lt1"/>
          </a:fontRef>
        </p:style>
        <p:txBody>
          <a:bodyPr lIns="0" tIns="612000" rIns="0" bIns="0" rtlCol="0" anchor="b" anchorCtr="0"/>
          <a:lstStyle/>
          <a:p>
            <a:pPr algn="ctr"/>
            <a:r>
              <a:rPr lang="de-DE" b="1" dirty="0"/>
              <a:t>Vision</a:t>
            </a:r>
          </a:p>
          <a:p>
            <a:pPr algn="ctr"/>
            <a:r>
              <a:rPr lang="de-DE" sz="1200" b="1" dirty="0"/>
              <a:t>The </a:t>
            </a:r>
            <a:r>
              <a:rPr lang="de-DE" sz="1200" b="1" dirty="0" err="1"/>
              <a:t>leading</a:t>
            </a:r>
            <a:r>
              <a:rPr lang="de-DE" sz="1200" b="1" dirty="0"/>
              <a:t> global </a:t>
            </a:r>
            <a:r>
              <a:rPr lang="de-DE" sz="1200" b="1" dirty="0" err="1"/>
              <a:t>provider</a:t>
            </a:r>
            <a:r>
              <a:rPr lang="de-DE" sz="1200" b="1" dirty="0"/>
              <a:t> </a:t>
            </a:r>
            <a:r>
              <a:rPr lang="de-DE" sz="1200" dirty="0" err="1"/>
              <a:t>of</a:t>
            </a:r>
            <a:r>
              <a:rPr lang="de-DE" sz="1200" dirty="0"/>
              <a:t> </a:t>
            </a:r>
            <a:r>
              <a:rPr lang="de-DE" sz="1200" dirty="0" err="1"/>
              <a:t>critical</a:t>
            </a:r>
            <a:r>
              <a:rPr lang="de-DE" sz="1200" dirty="0"/>
              <a:t> </a:t>
            </a:r>
            <a:r>
              <a:rPr lang="de-DE" sz="1200" dirty="0" err="1"/>
              <a:t>data</a:t>
            </a:r>
            <a:r>
              <a:rPr lang="de-DE" sz="1200" dirty="0"/>
              <a:t> </a:t>
            </a:r>
            <a:r>
              <a:rPr lang="de-DE" sz="1200" dirty="0" err="1"/>
              <a:t>security</a:t>
            </a:r>
            <a:r>
              <a:rPr lang="de-DE" sz="1200" dirty="0"/>
              <a:t>, </a:t>
            </a:r>
            <a:br>
              <a:rPr lang="de-DE" sz="1200" dirty="0"/>
            </a:br>
            <a:r>
              <a:rPr lang="de-DE" sz="1200" dirty="0" err="1"/>
              <a:t>identity</a:t>
            </a:r>
            <a:r>
              <a:rPr lang="de-DE" sz="1200" dirty="0"/>
              <a:t> </a:t>
            </a:r>
            <a:r>
              <a:rPr lang="de-DE" sz="1200" dirty="0" err="1"/>
              <a:t>and</a:t>
            </a:r>
            <a:r>
              <a:rPr lang="de-DE" sz="1200" dirty="0"/>
              <a:t> </a:t>
            </a:r>
            <a:r>
              <a:rPr lang="de-DE" sz="1200" dirty="0" err="1"/>
              <a:t>threat</a:t>
            </a:r>
            <a:r>
              <a:rPr lang="de-DE" sz="1200" dirty="0"/>
              <a:t> </a:t>
            </a:r>
            <a:r>
              <a:rPr lang="de-DE" sz="1200" dirty="0" err="1"/>
              <a:t>detection</a:t>
            </a:r>
            <a:r>
              <a:rPr lang="de-DE" sz="1200" dirty="0"/>
              <a:t> </a:t>
            </a:r>
            <a:r>
              <a:rPr lang="de-DE" sz="1200" dirty="0" err="1"/>
              <a:t>technologies</a:t>
            </a:r>
            <a:r>
              <a:rPr lang="de-DE" sz="1200" dirty="0"/>
              <a:t/>
            </a:r>
            <a:br>
              <a:rPr lang="de-DE" sz="1200" dirty="0"/>
            </a:br>
            <a:endParaRPr lang="de-DE" sz="1200" dirty="0"/>
          </a:p>
        </p:txBody>
      </p:sp>
      <p:sp>
        <p:nvSpPr>
          <p:cNvPr id="44" name="Rechteck 43"/>
          <p:cNvSpPr/>
          <p:nvPr/>
        </p:nvSpPr>
        <p:spPr>
          <a:xfrm>
            <a:off x="1508865" y="1958943"/>
            <a:ext cx="9625684" cy="739964"/>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t>Mission</a:t>
            </a:r>
          </a:p>
          <a:p>
            <a:pPr algn="ctr"/>
            <a:r>
              <a:rPr lang="de-DE" sz="1200" b="1" dirty="0"/>
              <a:t>“</a:t>
            </a:r>
            <a:r>
              <a:rPr lang="de-DE" sz="1200" b="1" dirty="0" err="1"/>
              <a:t>Utimaco</a:t>
            </a:r>
            <a:r>
              <a:rPr lang="de-DE" sz="1200" b="1" dirty="0"/>
              <a:t>: Providing Security </a:t>
            </a:r>
            <a:r>
              <a:rPr lang="de-DE" sz="1200" b="1" dirty="0" err="1"/>
              <a:t>creates</a:t>
            </a:r>
            <a:r>
              <a:rPr lang="de-DE" sz="1200" b="1" dirty="0"/>
              <a:t> Trust”</a:t>
            </a:r>
            <a:r>
              <a:rPr lang="de-DE" sz="1200" dirty="0"/>
              <a:t/>
            </a:r>
            <a:br>
              <a:rPr lang="de-DE" sz="1200" dirty="0"/>
            </a:br>
            <a:r>
              <a:rPr lang="de-DE" sz="1200" dirty="0" err="1"/>
              <a:t>Trusted</a:t>
            </a:r>
            <a:r>
              <a:rPr lang="de-DE" sz="1200" dirty="0"/>
              <a:t> </a:t>
            </a:r>
            <a:r>
              <a:rPr lang="de-DE" sz="1200" dirty="0" err="1"/>
              <a:t>to</a:t>
            </a:r>
            <a:r>
              <a:rPr lang="de-DE" sz="1200" dirty="0"/>
              <a:t> </a:t>
            </a:r>
            <a:r>
              <a:rPr lang="de-DE" sz="1200" dirty="0" err="1"/>
              <a:t>protect</a:t>
            </a:r>
            <a:r>
              <a:rPr lang="de-DE" sz="1200" dirty="0"/>
              <a:t> </a:t>
            </a:r>
            <a:r>
              <a:rPr lang="de-DE" sz="1200" dirty="0" err="1"/>
              <a:t>the</a:t>
            </a:r>
            <a:r>
              <a:rPr lang="de-DE" sz="1200" dirty="0"/>
              <a:t> </a:t>
            </a:r>
            <a:r>
              <a:rPr lang="de-DE" sz="1200" dirty="0" err="1"/>
              <a:t>most</a:t>
            </a:r>
            <a:r>
              <a:rPr lang="de-DE" sz="1200" dirty="0"/>
              <a:t> </a:t>
            </a:r>
            <a:r>
              <a:rPr lang="de-DE" sz="1200" dirty="0" err="1"/>
              <a:t>critical</a:t>
            </a:r>
            <a:r>
              <a:rPr lang="de-DE" sz="1200" dirty="0"/>
              <a:t> </a:t>
            </a:r>
            <a:r>
              <a:rPr lang="de-DE" sz="1200" dirty="0" err="1"/>
              <a:t>infrastructures</a:t>
            </a:r>
            <a:r>
              <a:rPr lang="de-DE" sz="1200" dirty="0"/>
              <a:t> </a:t>
            </a:r>
            <a:r>
              <a:rPr lang="de-DE" sz="1200" dirty="0" err="1"/>
              <a:t>and</a:t>
            </a:r>
            <a:r>
              <a:rPr lang="de-DE" sz="1200" dirty="0"/>
              <a:t> </a:t>
            </a:r>
            <a:r>
              <a:rPr lang="de-DE" sz="1200" dirty="0" err="1"/>
              <a:t>organizations</a:t>
            </a:r>
            <a:r>
              <a:rPr lang="de-DE" sz="1200" dirty="0"/>
              <a:t> </a:t>
            </a:r>
            <a:r>
              <a:rPr lang="de-DE" sz="1200" dirty="0" err="1"/>
              <a:t>against</a:t>
            </a:r>
            <a:r>
              <a:rPr lang="de-DE" sz="1200" dirty="0"/>
              <a:t> </a:t>
            </a:r>
            <a:r>
              <a:rPr lang="de-DE" sz="1200" dirty="0" err="1"/>
              <a:t>the</a:t>
            </a:r>
            <a:r>
              <a:rPr lang="de-DE" sz="1200" dirty="0"/>
              <a:t> </a:t>
            </a:r>
            <a:r>
              <a:rPr lang="de-DE" sz="1200" dirty="0" err="1"/>
              <a:t>most</a:t>
            </a:r>
            <a:r>
              <a:rPr lang="de-DE" sz="1200" dirty="0"/>
              <a:t> </a:t>
            </a:r>
            <a:r>
              <a:rPr lang="de-DE" sz="1200" dirty="0" err="1"/>
              <a:t>critical</a:t>
            </a:r>
            <a:r>
              <a:rPr lang="de-DE" sz="1200" dirty="0"/>
              <a:t> </a:t>
            </a:r>
            <a:r>
              <a:rPr lang="de-DE" sz="1200" dirty="0" err="1"/>
              <a:t>threats</a:t>
            </a:r>
            <a:endParaRPr lang="de-DE" sz="1200" dirty="0"/>
          </a:p>
        </p:txBody>
      </p:sp>
      <p:sp>
        <p:nvSpPr>
          <p:cNvPr id="47" name="Rechteck 46"/>
          <p:cNvSpPr/>
          <p:nvPr/>
        </p:nvSpPr>
        <p:spPr>
          <a:xfrm>
            <a:off x="1508865" y="3155243"/>
            <a:ext cx="2340000" cy="8496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200" b="1" dirty="0"/>
              <a:t>GP HSM</a:t>
            </a:r>
            <a:endParaRPr lang="de-DE" sz="1000" dirty="0"/>
          </a:p>
        </p:txBody>
      </p:sp>
      <p:sp>
        <p:nvSpPr>
          <p:cNvPr id="48" name="Rechteck 47"/>
          <p:cNvSpPr/>
          <p:nvPr/>
        </p:nvSpPr>
        <p:spPr>
          <a:xfrm>
            <a:off x="3937426" y="3155243"/>
            <a:ext cx="2340000" cy="8496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200" b="1" dirty="0"/>
              <a:t>Payment HSM</a:t>
            </a:r>
          </a:p>
        </p:txBody>
      </p:sp>
      <p:sp>
        <p:nvSpPr>
          <p:cNvPr id="49" name="Rechteck 48"/>
          <p:cNvSpPr/>
          <p:nvPr/>
        </p:nvSpPr>
        <p:spPr>
          <a:xfrm>
            <a:off x="6365987" y="3155243"/>
            <a:ext cx="2340000" cy="849600"/>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b="1" dirty="0"/>
              <a:t>Key Management </a:t>
            </a:r>
          </a:p>
          <a:p>
            <a:pPr algn="ctr"/>
            <a:r>
              <a:rPr lang="en-US" sz="1000" b="1" dirty="0"/>
              <a:t>(ESKM + Data Protection)</a:t>
            </a:r>
          </a:p>
        </p:txBody>
      </p:sp>
      <p:sp>
        <p:nvSpPr>
          <p:cNvPr id="50" name="Rechteck 49"/>
          <p:cNvSpPr/>
          <p:nvPr/>
        </p:nvSpPr>
        <p:spPr>
          <a:xfrm>
            <a:off x="8794549" y="3155243"/>
            <a:ext cx="2340000" cy="849600"/>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de-DE" sz="1200" b="1" dirty="0"/>
              <a:t>LI Mediation</a:t>
            </a:r>
            <a:endParaRPr lang="de-DE" sz="1000" dirty="0"/>
          </a:p>
        </p:txBody>
      </p:sp>
      <p:sp>
        <p:nvSpPr>
          <p:cNvPr id="51" name="Freeform 16"/>
          <p:cNvSpPr>
            <a:spLocks noEditPoints="1"/>
          </p:cNvSpPr>
          <p:nvPr/>
        </p:nvSpPr>
        <p:spPr bwMode="auto">
          <a:xfrm>
            <a:off x="7331235" y="3571590"/>
            <a:ext cx="434816" cy="376394"/>
          </a:xfrm>
          <a:custGeom>
            <a:avLst/>
            <a:gdLst>
              <a:gd name="T0" fmla="*/ 49 w 232"/>
              <a:gd name="T1" fmla="*/ 116 h 190"/>
              <a:gd name="T2" fmla="*/ 51 w 232"/>
              <a:gd name="T3" fmla="*/ 113 h 190"/>
              <a:gd name="T4" fmla="*/ 60 w 232"/>
              <a:gd name="T5" fmla="*/ 109 h 190"/>
              <a:gd name="T6" fmla="*/ 99 w 232"/>
              <a:gd name="T7" fmla="*/ 101 h 190"/>
              <a:gd name="T8" fmla="*/ 147 w 232"/>
              <a:gd name="T9" fmla="*/ 100 h 190"/>
              <a:gd name="T10" fmla="*/ 150 w 232"/>
              <a:gd name="T11" fmla="*/ 101 h 190"/>
              <a:gd name="T12" fmla="*/ 155 w 232"/>
              <a:gd name="T13" fmla="*/ 107 h 190"/>
              <a:gd name="T14" fmla="*/ 150 w 232"/>
              <a:gd name="T15" fmla="*/ 112 h 190"/>
              <a:gd name="T16" fmla="*/ 143 w 232"/>
              <a:gd name="T17" fmla="*/ 113 h 190"/>
              <a:gd name="T18" fmla="*/ 114 w 232"/>
              <a:gd name="T19" fmla="*/ 121 h 190"/>
              <a:gd name="T20" fmla="*/ 110 w 232"/>
              <a:gd name="T21" fmla="*/ 124 h 190"/>
              <a:gd name="T22" fmla="*/ 110 w 232"/>
              <a:gd name="T23" fmla="*/ 125 h 190"/>
              <a:gd name="T24" fmla="*/ 114 w 232"/>
              <a:gd name="T25" fmla="*/ 126 h 190"/>
              <a:gd name="T26" fmla="*/ 150 w 232"/>
              <a:gd name="T27" fmla="*/ 127 h 190"/>
              <a:gd name="T28" fmla="*/ 176 w 232"/>
              <a:gd name="T29" fmla="*/ 122 h 190"/>
              <a:gd name="T30" fmla="*/ 216 w 232"/>
              <a:gd name="T31" fmla="*/ 107 h 190"/>
              <a:gd name="T32" fmla="*/ 224 w 232"/>
              <a:gd name="T33" fmla="*/ 105 h 190"/>
              <a:gd name="T34" fmla="*/ 231 w 232"/>
              <a:gd name="T35" fmla="*/ 110 h 190"/>
              <a:gd name="T36" fmla="*/ 228 w 232"/>
              <a:gd name="T37" fmla="*/ 118 h 190"/>
              <a:gd name="T38" fmla="*/ 226 w 232"/>
              <a:gd name="T39" fmla="*/ 120 h 190"/>
              <a:gd name="T40" fmla="*/ 160 w 232"/>
              <a:gd name="T41" fmla="*/ 158 h 190"/>
              <a:gd name="T42" fmla="*/ 156 w 232"/>
              <a:gd name="T43" fmla="*/ 159 h 190"/>
              <a:gd name="T44" fmla="*/ 57 w 232"/>
              <a:gd name="T45" fmla="*/ 168 h 190"/>
              <a:gd name="T46" fmla="*/ 49 w 232"/>
              <a:gd name="T47" fmla="*/ 116 h 190"/>
              <a:gd name="T48" fmla="*/ 0 w 232"/>
              <a:gd name="T49" fmla="*/ 120 h 190"/>
              <a:gd name="T50" fmla="*/ 0 w 232"/>
              <a:gd name="T51" fmla="*/ 182 h 190"/>
              <a:gd name="T52" fmla="*/ 8 w 232"/>
              <a:gd name="T53" fmla="*/ 189 h 190"/>
              <a:gd name="T54" fmla="*/ 49 w 232"/>
              <a:gd name="T55" fmla="*/ 180 h 190"/>
              <a:gd name="T56" fmla="*/ 51 w 232"/>
              <a:gd name="T57" fmla="*/ 177 h 190"/>
              <a:gd name="T58" fmla="*/ 41 w 232"/>
              <a:gd name="T59" fmla="*/ 111 h 190"/>
              <a:gd name="T60" fmla="*/ 38 w 232"/>
              <a:gd name="T61" fmla="*/ 109 h 190"/>
              <a:gd name="T62" fmla="*/ 6 w 232"/>
              <a:gd name="T63" fmla="*/ 113 h 190"/>
              <a:gd name="T64" fmla="*/ 0 w 232"/>
              <a:gd name="T65" fmla="*/ 120 h 190"/>
              <a:gd name="T66" fmla="*/ 210 w 232"/>
              <a:gd name="T67" fmla="*/ 53 h 190"/>
              <a:gd name="T68" fmla="*/ 210 w 232"/>
              <a:gd name="T69" fmla="*/ 71 h 190"/>
              <a:gd name="T70" fmla="*/ 199 w 232"/>
              <a:gd name="T71" fmla="*/ 71 h 190"/>
              <a:gd name="T72" fmla="*/ 199 w 232"/>
              <a:gd name="T73" fmla="*/ 53 h 190"/>
              <a:gd name="T74" fmla="*/ 194 w 232"/>
              <a:gd name="T75" fmla="*/ 53 h 190"/>
              <a:gd name="T76" fmla="*/ 194 w 232"/>
              <a:gd name="T77" fmla="*/ 61 h 190"/>
              <a:gd name="T78" fmla="*/ 183 w 232"/>
              <a:gd name="T79" fmla="*/ 61 h 190"/>
              <a:gd name="T80" fmla="*/ 183 w 232"/>
              <a:gd name="T81" fmla="*/ 53 h 190"/>
              <a:gd name="T82" fmla="*/ 177 w 232"/>
              <a:gd name="T83" fmla="*/ 53 h 190"/>
              <a:gd name="T84" fmla="*/ 177 w 232"/>
              <a:gd name="T85" fmla="*/ 68 h 190"/>
              <a:gd name="T86" fmla="*/ 165 w 232"/>
              <a:gd name="T87" fmla="*/ 68 h 190"/>
              <a:gd name="T88" fmla="*/ 165 w 232"/>
              <a:gd name="T89" fmla="*/ 53 h 190"/>
              <a:gd name="T90" fmla="*/ 102 w 232"/>
              <a:gd name="T91" fmla="*/ 53 h 190"/>
              <a:gd name="T92" fmla="*/ 59 w 232"/>
              <a:gd name="T93" fmla="*/ 87 h 190"/>
              <a:gd name="T94" fmla="*/ 16 w 232"/>
              <a:gd name="T95" fmla="*/ 43 h 190"/>
              <a:gd name="T96" fmla="*/ 59 w 232"/>
              <a:gd name="T97" fmla="*/ 0 h 190"/>
              <a:gd name="T98" fmla="*/ 102 w 232"/>
              <a:gd name="T99" fmla="*/ 34 h 190"/>
              <a:gd name="T100" fmla="*/ 216 w 232"/>
              <a:gd name="T101" fmla="*/ 34 h 190"/>
              <a:gd name="T102" fmla="*/ 216 w 232"/>
              <a:gd name="T103" fmla="*/ 53 h 190"/>
              <a:gd name="T104" fmla="*/ 210 w 232"/>
              <a:gd name="T105" fmla="*/ 53 h 190"/>
              <a:gd name="T106" fmla="*/ 59 w 232"/>
              <a:gd name="T107" fmla="*/ 18 h 190"/>
              <a:gd name="T108" fmla="*/ 34 w 232"/>
              <a:gd name="T109" fmla="*/ 43 h 190"/>
              <a:gd name="T110" fmla="*/ 59 w 232"/>
              <a:gd name="T111" fmla="*/ 69 h 190"/>
              <a:gd name="T112" fmla="*/ 85 w 232"/>
              <a:gd name="T113" fmla="*/ 43 h 190"/>
              <a:gd name="T114" fmla="*/ 59 w 232"/>
              <a:gd name="T115" fmla="*/ 1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190">
                <a:moveTo>
                  <a:pt x="49" y="116"/>
                </a:moveTo>
                <a:cubicBezTo>
                  <a:pt x="49" y="115"/>
                  <a:pt x="49" y="114"/>
                  <a:pt x="51" y="113"/>
                </a:cubicBezTo>
                <a:cubicBezTo>
                  <a:pt x="54" y="112"/>
                  <a:pt x="57" y="111"/>
                  <a:pt x="60" y="109"/>
                </a:cubicBezTo>
                <a:cubicBezTo>
                  <a:pt x="73" y="105"/>
                  <a:pt x="85" y="101"/>
                  <a:pt x="99" y="101"/>
                </a:cubicBezTo>
                <a:cubicBezTo>
                  <a:pt x="115" y="100"/>
                  <a:pt x="131" y="100"/>
                  <a:pt x="147" y="100"/>
                </a:cubicBezTo>
                <a:cubicBezTo>
                  <a:pt x="148" y="100"/>
                  <a:pt x="149" y="100"/>
                  <a:pt x="150" y="101"/>
                </a:cubicBezTo>
                <a:cubicBezTo>
                  <a:pt x="153" y="102"/>
                  <a:pt x="155" y="104"/>
                  <a:pt x="155" y="107"/>
                </a:cubicBezTo>
                <a:cubicBezTo>
                  <a:pt x="155" y="110"/>
                  <a:pt x="152" y="111"/>
                  <a:pt x="150" y="112"/>
                </a:cubicBezTo>
                <a:cubicBezTo>
                  <a:pt x="148" y="112"/>
                  <a:pt x="145" y="113"/>
                  <a:pt x="143" y="113"/>
                </a:cubicBezTo>
                <a:cubicBezTo>
                  <a:pt x="133" y="116"/>
                  <a:pt x="124" y="119"/>
                  <a:pt x="114" y="121"/>
                </a:cubicBezTo>
                <a:cubicBezTo>
                  <a:pt x="112" y="122"/>
                  <a:pt x="111" y="123"/>
                  <a:pt x="110" y="124"/>
                </a:cubicBezTo>
                <a:cubicBezTo>
                  <a:pt x="110" y="124"/>
                  <a:pt x="110" y="124"/>
                  <a:pt x="110" y="125"/>
                </a:cubicBezTo>
                <a:cubicBezTo>
                  <a:pt x="111" y="125"/>
                  <a:pt x="113" y="126"/>
                  <a:pt x="114" y="126"/>
                </a:cubicBezTo>
                <a:cubicBezTo>
                  <a:pt x="126" y="126"/>
                  <a:pt x="138" y="126"/>
                  <a:pt x="150" y="127"/>
                </a:cubicBezTo>
                <a:cubicBezTo>
                  <a:pt x="159" y="127"/>
                  <a:pt x="168" y="125"/>
                  <a:pt x="176" y="122"/>
                </a:cubicBezTo>
                <a:cubicBezTo>
                  <a:pt x="189" y="117"/>
                  <a:pt x="203" y="112"/>
                  <a:pt x="216" y="107"/>
                </a:cubicBezTo>
                <a:cubicBezTo>
                  <a:pt x="218" y="106"/>
                  <a:pt x="221" y="105"/>
                  <a:pt x="224" y="105"/>
                </a:cubicBezTo>
                <a:cubicBezTo>
                  <a:pt x="227" y="105"/>
                  <a:pt x="231" y="107"/>
                  <a:pt x="231" y="110"/>
                </a:cubicBezTo>
                <a:cubicBezTo>
                  <a:pt x="232" y="113"/>
                  <a:pt x="231" y="116"/>
                  <a:pt x="228" y="118"/>
                </a:cubicBezTo>
                <a:cubicBezTo>
                  <a:pt x="228" y="119"/>
                  <a:pt x="227" y="119"/>
                  <a:pt x="226" y="120"/>
                </a:cubicBezTo>
                <a:cubicBezTo>
                  <a:pt x="204" y="132"/>
                  <a:pt x="182" y="145"/>
                  <a:pt x="160" y="158"/>
                </a:cubicBezTo>
                <a:cubicBezTo>
                  <a:pt x="159" y="159"/>
                  <a:pt x="157" y="159"/>
                  <a:pt x="156" y="159"/>
                </a:cubicBezTo>
                <a:cubicBezTo>
                  <a:pt x="149" y="161"/>
                  <a:pt x="60" y="169"/>
                  <a:pt x="57" y="168"/>
                </a:cubicBezTo>
                <a:cubicBezTo>
                  <a:pt x="57" y="168"/>
                  <a:pt x="51" y="128"/>
                  <a:pt x="49" y="116"/>
                </a:cubicBezTo>
                <a:close/>
                <a:moveTo>
                  <a:pt x="0" y="120"/>
                </a:moveTo>
                <a:cubicBezTo>
                  <a:pt x="0" y="182"/>
                  <a:pt x="0" y="182"/>
                  <a:pt x="0" y="182"/>
                </a:cubicBezTo>
                <a:cubicBezTo>
                  <a:pt x="0" y="186"/>
                  <a:pt x="4" y="190"/>
                  <a:pt x="8" y="189"/>
                </a:cubicBezTo>
                <a:cubicBezTo>
                  <a:pt x="49" y="180"/>
                  <a:pt x="49" y="180"/>
                  <a:pt x="49" y="180"/>
                </a:cubicBezTo>
                <a:cubicBezTo>
                  <a:pt x="50" y="180"/>
                  <a:pt x="51" y="179"/>
                  <a:pt x="51" y="177"/>
                </a:cubicBezTo>
                <a:cubicBezTo>
                  <a:pt x="41" y="111"/>
                  <a:pt x="41" y="111"/>
                  <a:pt x="41" y="111"/>
                </a:cubicBezTo>
                <a:cubicBezTo>
                  <a:pt x="40" y="110"/>
                  <a:pt x="39" y="109"/>
                  <a:pt x="38" y="109"/>
                </a:cubicBezTo>
                <a:cubicBezTo>
                  <a:pt x="6" y="113"/>
                  <a:pt x="6" y="113"/>
                  <a:pt x="6" y="113"/>
                </a:cubicBezTo>
                <a:cubicBezTo>
                  <a:pt x="2" y="114"/>
                  <a:pt x="0" y="117"/>
                  <a:pt x="0" y="120"/>
                </a:cubicBezTo>
                <a:close/>
                <a:moveTo>
                  <a:pt x="210" y="53"/>
                </a:moveTo>
                <a:cubicBezTo>
                  <a:pt x="210" y="71"/>
                  <a:pt x="210" y="71"/>
                  <a:pt x="210" y="71"/>
                </a:cubicBezTo>
                <a:cubicBezTo>
                  <a:pt x="199" y="71"/>
                  <a:pt x="199" y="71"/>
                  <a:pt x="199" y="71"/>
                </a:cubicBezTo>
                <a:cubicBezTo>
                  <a:pt x="199" y="53"/>
                  <a:pt x="199" y="53"/>
                  <a:pt x="199" y="53"/>
                </a:cubicBezTo>
                <a:cubicBezTo>
                  <a:pt x="194" y="53"/>
                  <a:pt x="194" y="53"/>
                  <a:pt x="194" y="53"/>
                </a:cubicBezTo>
                <a:cubicBezTo>
                  <a:pt x="194" y="61"/>
                  <a:pt x="194" y="61"/>
                  <a:pt x="194" y="61"/>
                </a:cubicBezTo>
                <a:cubicBezTo>
                  <a:pt x="183" y="61"/>
                  <a:pt x="183" y="61"/>
                  <a:pt x="183" y="61"/>
                </a:cubicBezTo>
                <a:cubicBezTo>
                  <a:pt x="183" y="53"/>
                  <a:pt x="183" y="53"/>
                  <a:pt x="183" y="53"/>
                </a:cubicBezTo>
                <a:cubicBezTo>
                  <a:pt x="177" y="53"/>
                  <a:pt x="177" y="53"/>
                  <a:pt x="177" y="53"/>
                </a:cubicBezTo>
                <a:cubicBezTo>
                  <a:pt x="177" y="68"/>
                  <a:pt x="177" y="68"/>
                  <a:pt x="177" y="68"/>
                </a:cubicBezTo>
                <a:cubicBezTo>
                  <a:pt x="165" y="68"/>
                  <a:pt x="165" y="68"/>
                  <a:pt x="165" y="68"/>
                </a:cubicBezTo>
                <a:cubicBezTo>
                  <a:pt x="165" y="53"/>
                  <a:pt x="165" y="53"/>
                  <a:pt x="165" y="53"/>
                </a:cubicBezTo>
                <a:cubicBezTo>
                  <a:pt x="102" y="53"/>
                  <a:pt x="102" y="53"/>
                  <a:pt x="102" y="53"/>
                </a:cubicBezTo>
                <a:cubicBezTo>
                  <a:pt x="98" y="72"/>
                  <a:pt x="81" y="87"/>
                  <a:pt x="59" y="87"/>
                </a:cubicBezTo>
                <a:cubicBezTo>
                  <a:pt x="35" y="87"/>
                  <a:pt x="16" y="68"/>
                  <a:pt x="16" y="43"/>
                </a:cubicBezTo>
                <a:cubicBezTo>
                  <a:pt x="16" y="19"/>
                  <a:pt x="35" y="0"/>
                  <a:pt x="59" y="0"/>
                </a:cubicBezTo>
                <a:cubicBezTo>
                  <a:pt x="81" y="0"/>
                  <a:pt x="98" y="14"/>
                  <a:pt x="102" y="34"/>
                </a:cubicBezTo>
                <a:cubicBezTo>
                  <a:pt x="216" y="34"/>
                  <a:pt x="216" y="34"/>
                  <a:pt x="216" y="34"/>
                </a:cubicBezTo>
                <a:cubicBezTo>
                  <a:pt x="216" y="53"/>
                  <a:pt x="216" y="53"/>
                  <a:pt x="216" y="53"/>
                </a:cubicBezTo>
                <a:lnTo>
                  <a:pt x="210" y="53"/>
                </a:lnTo>
                <a:close/>
                <a:moveTo>
                  <a:pt x="59" y="18"/>
                </a:moveTo>
                <a:cubicBezTo>
                  <a:pt x="45" y="18"/>
                  <a:pt x="34" y="29"/>
                  <a:pt x="34" y="43"/>
                </a:cubicBezTo>
                <a:cubicBezTo>
                  <a:pt x="34" y="57"/>
                  <a:pt x="45" y="69"/>
                  <a:pt x="59" y="69"/>
                </a:cubicBezTo>
                <a:cubicBezTo>
                  <a:pt x="74" y="69"/>
                  <a:pt x="85" y="57"/>
                  <a:pt x="85" y="43"/>
                </a:cubicBezTo>
                <a:cubicBezTo>
                  <a:pt x="85" y="29"/>
                  <a:pt x="74" y="18"/>
                  <a:pt x="59"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53" name="Group 4"/>
          <p:cNvGrpSpPr>
            <a:grpSpLocks noChangeAspect="1"/>
          </p:cNvGrpSpPr>
          <p:nvPr/>
        </p:nvGrpSpPr>
        <p:grpSpPr bwMode="auto">
          <a:xfrm>
            <a:off x="9724141" y="3429340"/>
            <a:ext cx="572811" cy="518644"/>
            <a:chOff x="6547" y="514"/>
            <a:chExt cx="846" cy="766"/>
          </a:xfrm>
        </p:grpSpPr>
        <p:sp>
          <p:nvSpPr>
            <p:cNvPr id="58" name="Freeform 5"/>
            <p:cNvSpPr>
              <a:spLocks noEditPoints="1"/>
            </p:cNvSpPr>
            <p:nvPr/>
          </p:nvSpPr>
          <p:spPr bwMode="auto">
            <a:xfrm>
              <a:off x="6547" y="514"/>
              <a:ext cx="846" cy="766"/>
            </a:xfrm>
            <a:custGeom>
              <a:avLst/>
              <a:gdLst>
                <a:gd name="T0" fmla="*/ 172 w 478"/>
                <a:gd name="T1" fmla="*/ 10 h 433"/>
                <a:gd name="T2" fmla="*/ 73 w 478"/>
                <a:gd name="T3" fmla="*/ 75 h 433"/>
                <a:gd name="T4" fmla="*/ 75 w 478"/>
                <a:gd name="T5" fmla="*/ 96 h 433"/>
                <a:gd name="T6" fmla="*/ 84 w 478"/>
                <a:gd name="T7" fmla="*/ 100 h 433"/>
                <a:gd name="T8" fmla="*/ 96 w 478"/>
                <a:gd name="T9" fmla="*/ 95 h 433"/>
                <a:gd name="T10" fmla="*/ 181 w 478"/>
                <a:gd name="T11" fmla="*/ 39 h 433"/>
                <a:gd name="T12" fmla="*/ 191 w 478"/>
                <a:gd name="T13" fmla="*/ 20 h 433"/>
                <a:gd name="T14" fmla="*/ 172 w 478"/>
                <a:gd name="T15" fmla="*/ 10 h 433"/>
                <a:gd name="T16" fmla="*/ 403 w 478"/>
                <a:gd name="T17" fmla="*/ 336 h 433"/>
                <a:gd name="T18" fmla="*/ 382 w 478"/>
                <a:gd name="T19" fmla="*/ 338 h 433"/>
                <a:gd name="T20" fmla="*/ 297 w 478"/>
                <a:gd name="T21" fmla="*/ 394 h 433"/>
                <a:gd name="T22" fmla="*/ 287 w 478"/>
                <a:gd name="T23" fmla="*/ 413 h 433"/>
                <a:gd name="T24" fmla="*/ 301 w 478"/>
                <a:gd name="T25" fmla="*/ 423 h 433"/>
                <a:gd name="T26" fmla="*/ 306 w 478"/>
                <a:gd name="T27" fmla="*/ 422 h 433"/>
                <a:gd name="T28" fmla="*/ 404 w 478"/>
                <a:gd name="T29" fmla="*/ 357 h 433"/>
                <a:gd name="T30" fmla="*/ 403 w 478"/>
                <a:gd name="T31" fmla="*/ 336 h 433"/>
                <a:gd name="T32" fmla="*/ 201 w 478"/>
                <a:gd name="T33" fmla="*/ 216 h 433"/>
                <a:gd name="T34" fmla="*/ 239 w 478"/>
                <a:gd name="T35" fmla="*/ 178 h 433"/>
                <a:gd name="T36" fmla="*/ 277 w 478"/>
                <a:gd name="T37" fmla="*/ 216 h 433"/>
                <a:gd name="T38" fmla="*/ 239 w 478"/>
                <a:gd name="T39" fmla="*/ 254 h 433"/>
                <a:gd name="T40" fmla="*/ 201 w 478"/>
                <a:gd name="T41" fmla="*/ 216 h 433"/>
                <a:gd name="T42" fmla="*/ 235 w 478"/>
                <a:gd name="T43" fmla="*/ 403 h 433"/>
                <a:gd name="T44" fmla="*/ 49 w 478"/>
                <a:gd name="T45" fmla="*/ 218 h 433"/>
                <a:gd name="T46" fmla="*/ 72 w 478"/>
                <a:gd name="T47" fmla="*/ 185 h 433"/>
                <a:gd name="T48" fmla="*/ 36 w 478"/>
                <a:gd name="T49" fmla="*/ 149 h 433"/>
                <a:gd name="T50" fmla="*/ 0 w 478"/>
                <a:gd name="T51" fmla="*/ 185 h 433"/>
                <a:gd name="T52" fmla="*/ 19 w 478"/>
                <a:gd name="T53" fmla="*/ 217 h 433"/>
                <a:gd name="T54" fmla="*/ 235 w 478"/>
                <a:gd name="T55" fmla="*/ 433 h 433"/>
                <a:gd name="T56" fmla="*/ 235 w 478"/>
                <a:gd name="T57" fmla="*/ 433 h 433"/>
                <a:gd name="T58" fmla="*/ 250 w 478"/>
                <a:gd name="T59" fmla="*/ 418 h 433"/>
                <a:gd name="T60" fmla="*/ 235 w 478"/>
                <a:gd name="T61" fmla="*/ 403 h 433"/>
                <a:gd name="T62" fmla="*/ 15 w 478"/>
                <a:gd name="T63" fmla="*/ 185 h 433"/>
                <a:gd name="T64" fmla="*/ 36 w 478"/>
                <a:gd name="T65" fmla="*/ 164 h 433"/>
                <a:gd name="T66" fmla="*/ 57 w 478"/>
                <a:gd name="T67" fmla="*/ 185 h 433"/>
                <a:gd name="T68" fmla="*/ 36 w 478"/>
                <a:gd name="T69" fmla="*/ 206 h 433"/>
                <a:gd name="T70" fmla="*/ 15 w 478"/>
                <a:gd name="T71" fmla="*/ 185 h 433"/>
                <a:gd name="T72" fmla="*/ 458 w 478"/>
                <a:gd name="T73" fmla="*/ 216 h 433"/>
                <a:gd name="T74" fmla="*/ 243 w 478"/>
                <a:gd name="T75" fmla="*/ 0 h 433"/>
                <a:gd name="T76" fmla="*/ 242 w 478"/>
                <a:gd name="T77" fmla="*/ 0 h 433"/>
                <a:gd name="T78" fmla="*/ 228 w 478"/>
                <a:gd name="T79" fmla="*/ 15 h 433"/>
                <a:gd name="T80" fmla="*/ 242 w 478"/>
                <a:gd name="T81" fmla="*/ 30 h 433"/>
                <a:gd name="T82" fmla="*/ 428 w 478"/>
                <a:gd name="T83" fmla="*/ 215 h 433"/>
                <a:gd name="T84" fmla="*/ 405 w 478"/>
                <a:gd name="T85" fmla="*/ 248 h 433"/>
                <a:gd name="T86" fmla="*/ 441 w 478"/>
                <a:gd name="T87" fmla="*/ 284 h 433"/>
                <a:gd name="T88" fmla="*/ 478 w 478"/>
                <a:gd name="T89" fmla="*/ 248 h 433"/>
                <a:gd name="T90" fmla="*/ 458 w 478"/>
                <a:gd name="T91" fmla="*/ 216 h 433"/>
                <a:gd name="T92" fmla="*/ 441 w 478"/>
                <a:gd name="T93" fmla="*/ 269 h 433"/>
                <a:gd name="T94" fmla="*/ 420 w 478"/>
                <a:gd name="T95" fmla="*/ 248 h 433"/>
                <a:gd name="T96" fmla="*/ 441 w 478"/>
                <a:gd name="T97" fmla="*/ 227 h 433"/>
                <a:gd name="T98" fmla="*/ 463 w 478"/>
                <a:gd name="T99" fmla="*/ 248 h 433"/>
                <a:gd name="T100" fmla="*/ 441 w 478"/>
                <a:gd name="T101" fmla="*/ 269 h 433"/>
                <a:gd name="T102" fmla="*/ 239 w 478"/>
                <a:gd name="T103" fmla="*/ 78 h 433"/>
                <a:gd name="T104" fmla="*/ 100 w 478"/>
                <a:gd name="T105" fmla="*/ 216 h 433"/>
                <a:gd name="T106" fmla="*/ 239 w 478"/>
                <a:gd name="T107" fmla="*/ 355 h 433"/>
                <a:gd name="T108" fmla="*/ 377 w 478"/>
                <a:gd name="T109" fmla="*/ 216 h 433"/>
                <a:gd name="T110" fmla="*/ 239 w 478"/>
                <a:gd name="T111" fmla="*/ 78 h 433"/>
                <a:gd name="T112" fmla="*/ 307 w 478"/>
                <a:gd name="T113" fmla="*/ 301 h 433"/>
                <a:gd name="T114" fmla="*/ 239 w 478"/>
                <a:gd name="T115" fmla="*/ 264 h 433"/>
                <a:gd name="T116" fmla="*/ 171 w 478"/>
                <a:gd name="T117" fmla="*/ 301 h 433"/>
                <a:gd name="T118" fmla="*/ 130 w 478"/>
                <a:gd name="T119" fmla="*/ 216 h 433"/>
                <a:gd name="T120" fmla="*/ 239 w 478"/>
                <a:gd name="T121" fmla="*/ 108 h 433"/>
                <a:gd name="T122" fmla="*/ 347 w 478"/>
                <a:gd name="T123" fmla="*/ 216 h 433"/>
                <a:gd name="T124" fmla="*/ 307 w 478"/>
                <a:gd name="T125" fmla="*/ 301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8" h="433">
                  <a:moveTo>
                    <a:pt x="172" y="10"/>
                  </a:moveTo>
                  <a:cubicBezTo>
                    <a:pt x="134" y="22"/>
                    <a:pt x="100" y="45"/>
                    <a:pt x="73" y="75"/>
                  </a:cubicBezTo>
                  <a:cubicBezTo>
                    <a:pt x="68" y="82"/>
                    <a:pt x="68" y="91"/>
                    <a:pt x="75" y="96"/>
                  </a:cubicBezTo>
                  <a:cubicBezTo>
                    <a:pt x="77" y="99"/>
                    <a:pt x="81" y="100"/>
                    <a:pt x="84" y="100"/>
                  </a:cubicBezTo>
                  <a:cubicBezTo>
                    <a:pt x="89" y="100"/>
                    <a:pt x="93" y="98"/>
                    <a:pt x="96" y="95"/>
                  </a:cubicBezTo>
                  <a:cubicBezTo>
                    <a:pt x="119" y="69"/>
                    <a:pt x="148" y="49"/>
                    <a:pt x="181" y="39"/>
                  </a:cubicBezTo>
                  <a:cubicBezTo>
                    <a:pt x="189" y="36"/>
                    <a:pt x="193" y="28"/>
                    <a:pt x="191" y="20"/>
                  </a:cubicBezTo>
                  <a:cubicBezTo>
                    <a:pt x="188" y="12"/>
                    <a:pt x="180" y="8"/>
                    <a:pt x="172" y="10"/>
                  </a:cubicBezTo>
                  <a:close/>
                  <a:moveTo>
                    <a:pt x="403" y="336"/>
                  </a:moveTo>
                  <a:cubicBezTo>
                    <a:pt x="397" y="331"/>
                    <a:pt x="387" y="332"/>
                    <a:pt x="382" y="338"/>
                  </a:cubicBezTo>
                  <a:cubicBezTo>
                    <a:pt x="359" y="364"/>
                    <a:pt x="330" y="383"/>
                    <a:pt x="297" y="394"/>
                  </a:cubicBezTo>
                  <a:cubicBezTo>
                    <a:pt x="289" y="396"/>
                    <a:pt x="284" y="405"/>
                    <a:pt x="287" y="413"/>
                  </a:cubicBezTo>
                  <a:cubicBezTo>
                    <a:pt x="289" y="419"/>
                    <a:pt x="295" y="423"/>
                    <a:pt x="301" y="423"/>
                  </a:cubicBezTo>
                  <a:cubicBezTo>
                    <a:pt x="303" y="423"/>
                    <a:pt x="304" y="423"/>
                    <a:pt x="306" y="422"/>
                  </a:cubicBezTo>
                  <a:cubicBezTo>
                    <a:pt x="344" y="410"/>
                    <a:pt x="378" y="388"/>
                    <a:pt x="404" y="357"/>
                  </a:cubicBezTo>
                  <a:cubicBezTo>
                    <a:pt x="410" y="351"/>
                    <a:pt x="409" y="342"/>
                    <a:pt x="403" y="336"/>
                  </a:cubicBezTo>
                  <a:close/>
                  <a:moveTo>
                    <a:pt x="201" y="216"/>
                  </a:moveTo>
                  <a:cubicBezTo>
                    <a:pt x="201" y="195"/>
                    <a:pt x="218" y="178"/>
                    <a:pt x="239" y="178"/>
                  </a:cubicBezTo>
                  <a:cubicBezTo>
                    <a:pt x="260" y="178"/>
                    <a:pt x="277" y="195"/>
                    <a:pt x="277" y="216"/>
                  </a:cubicBezTo>
                  <a:cubicBezTo>
                    <a:pt x="277" y="237"/>
                    <a:pt x="260" y="254"/>
                    <a:pt x="239" y="254"/>
                  </a:cubicBezTo>
                  <a:cubicBezTo>
                    <a:pt x="218" y="254"/>
                    <a:pt x="201" y="237"/>
                    <a:pt x="201" y="216"/>
                  </a:cubicBezTo>
                  <a:close/>
                  <a:moveTo>
                    <a:pt x="235" y="403"/>
                  </a:moveTo>
                  <a:cubicBezTo>
                    <a:pt x="134" y="401"/>
                    <a:pt x="52" y="319"/>
                    <a:pt x="49" y="218"/>
                  </a:cubicBezTo>
                  <a:cubicBezTo>
                    <a:pt x="63" y="213"/>
                    <a:pt x="72" y="200"/>
                    <a:pt x="72" y="185"/>
                  </a:cubicBezTo>
                  <a:cubicBezTo>
                    <a:pt x="72" y="165"/>
                    <a:pt x="56" y="149"/>
                    <a:pt x="36" y="149"/>
                  </a:cubicBezTo>
                  <a:cubicBezTo>
                    <a:pt x="16" y="149"/>
                    <a:pt x="0" y="165"/>
                    <a:pt x="0" y="185"/>
                  </a:cubicBezTo>
                  <a:cubicBezTo>
                    <a:pt x="0" y="198"/>
                    <a:pt x="8" y="210"/>
                    <a:pt x="19" y="217"/>
                  </a:cubicBezTo>
                  <a:cubicBezTo>
                    <a:pt x="21" y="334"/>
                    <a:pt x="117" y="431"/>
                    <a:pt x="235" y="433"/>
                  </a:cubicBezTo>
                  <a:cubicBezTo>
                    <a:pt x="235" y="433"/>
                    <a:pt x="235" y="433"/>
                    <a:pt x="235" y="433"/>
                  </a:cubicBezTo>
                  <a:cubicBezTo>
                    <a:pt x="243" y="433"/>
                    <a:pt x="250" y="426"/>
                    <a:pt x="250" y="418"/>
                  </a:cubicBezTo>
                  <a:cubicBezTo>
                    <a:pt x="250" y="410"/>
                    <a:pt x="244" y="403"/>
                    <a:pt x="235" y="403"/>
                  </a:cubicBezTo>
                  <a:close/>
                  <a:moveTo>
                    <a:pt x="15" y="185"/>
                  </a:moveTo>
                  <a:cubicBezTo>
                    <a:pt x="15" y="173"/>
                    <a:pt x="25" y="164"/>
                    <a:pt x="36" y="164"/>
                  </a:cubicBezTo>
                  <a:cubicBezTo>
                    <a:pt x="48" y="164"/>
                    <a:pt x="57" y="173"/>
                    <a:pt x="57" y="185"/>
                  </a:cubicBezTo>
                  <a:cubicBezTo>
                    <a:pt x="57" y="196"/>
                    <a:pt x="48" y="206"/>
                    <a:pt x="36" y="206"/>
                  </a:cubicBezTo>
                  <a:cubicBezTo>
                    <a:pt x="25" y="206"/>
                    <a:pt x="15" y="196"/>
                    <a:pt x="15" y="185"/>
                  </a:cubicBezTo>
                  <a:close/>
                  <a:moveTo>
                    <a:pt x="458" y="216"/>
                  </a:moveTo>
                  <a:cubicBezTo>
                    <a:pt x="457" y="99"/>
                    <a:pt x="361" y="2"/>
                    <a:pt x="243" y="0"/>
                  </a:cubicBezTo>
                  <a:cubicBezTo>
                    <a:pt x="242" y="0"/>
                    <a:pt x="242" y="0"/>
                    <a:pt x="242" y="0"/>
                  </a:cubicBezTo>
                  <a:cubicBezTo>
                    <a:pt x="234" y="0"/>
                    <a:pt x="228" y="6"/>
                    <a:pt x="228" y="15"/>
                  </a:cubicBezTo>
                  <a:cubicBezTo>
                    <a:pt x="227" y="23"/>
                    <a:pt x="234" y="30"/>
                    <a:pt x="242" y="30"/>
                  </a:cubicBezTo>
                  <a:cubicBezTo>
                    <a:pt x="343" y="32"/>
                    <a:pt x="426" y="114"/>
                    <a:pt x="428" y="215"/>
                  </a:cubicBezTo>
                  <a:cubicBezTo>
                    <a:pt x="415" y="220"/>
                    <a:pt x="405" y="233"/>
                    <a:pt x="405" y="248"/>
                  </a:cubicBezTo>
                  <a:cubicBezTo>
                    <a:pt x="405" y="268"/>
                    <a:pt x="422" y="284"/>
                    <a:pt x="441" y="284"/>
                  </a:cubicBezTo>
                  <a:cubicBezTo>
                    <a:pt x="461" y="284"/>
                    <a:pt x="478" y="268"/>
                    <a:pt x="478" y="248"/>
                  </a:cubicBezTo>
                  <a:cubicBezTo>
                    <a:pt x="478" y="234"/>
                    <a:pt x="470" y="222"/>
                    <a:pt x="458" y="216"/>
                  </a:cubicBezTo>
                  <a:close/>
                  <a:moveTo>
                    <a:pt x="441" y="269"/>
                  </a:moveTo>
                  <a:cubicBezTo>
                    <a:pt x="430" y="269"/>
                    <a:pt x="420" y="260"/>
                    <a:pt x="420" y="248"/>
                  </a:cubicBezTo>
                  <a:cubicBezTo>
                    <a:pt x="420" y="236"/>
                    <a:pt x="430" y="227"/>
                    <a:pt x="441" y="227"/>
                  </a:cubicBezTo>
                  <a:cubicBezTo>
                    <a:pt x="453" y="227"/>
                    <a:pt x="463" y="236"/>
                    <a:pt x="463" y="248"/>
                  </a:cubicBezTo>
                  <a:cubicBezTo>
                    <a:pt x="463" y="260"/>
                    <a:pt x="453" y="269"/>
                    <a:pt x="441" y="269"/>
                  </a:cubicBezTo>
                  <a:close/>
                  <a:moveTo>
                    <a:pt x="239" y="78"/>
                  </a:moveTo>
                  <a:cubicBezTo>
                    <a:pt x="162" y="78"/>
                    <a:pt x="100" y="140"/>
                    <a:pt x="100" y="216"/>
                  </a:cubicBezTo>
                  <a:cubicBezTo>
                    <a:pt x="100" y="293"/>
                    <a:pt x="162" y="355"/>
                    <a:pt x="239" y="355"/>
                  </a:cubicBezTo>
                  <a:cubicBezTo>
                    <a:pt x="315" y="355"/>
                    <a:pt x="377" y="293"/>
                    <a:pt x="377" y="216"/>
                  </a:cubicBezTo>
                  <a:cubicBezTo>
                    <a:pt x="377" y="140"/>
                    <a:pt x="315" y="78"/>
                    <a:pt x="239" y="78"/>
                  </a:cubicBezTo>
                  <a:close/>
                  <a:moveTo>
                    <a:pt x="307" y="301"/>
                  </a:moveTo>
                  <a:cubicBezTo>
                    <a:pt x="299" y="280"/>
                    <a:pt x="272" y="264"/>
                    <a:pt x="239" y="264"/>
                  </a:cubicBezTo>
                  <a:cubicBezTo>
                    <a:pt x="206" y="264"/>
                    <a:pt x="178" y="280"/>
                    <a:pt x="171" y="301"/>
                  </a:cubicBezTo>
                  <a:cubicBezTo>
                    <a:pt x="146" y="281"/>
                    <a:pt x="130" y="250"/>
                    <a:pt x="130" y="216"/>
                  </a:cubicBezTo>
                  <a:cubicBezTo>
                    <a:pt x="130" y="157"/>
                    <a:pt x="179" y="108"/>
                    <a:pt x="239" y="108"/>
                  </a:cubicBezTo>
                  <a:cubicBezTo>
                    <a:pt x="299" y="108"/>
                    <a:pt x="347" y="157"/>
                    <a:pt x="347" y="216"/>
                  </a:cubicBezTo>
                  <a:cubicBezTo>
                    <a:pt x="347" y="250"/>
                    <a:pt x="332" y="281"/>
                    <a:pt x="307" y="3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6"/>
            <p:cNvSpPr>
              <a:spLocks noEditPoints="1"/>
            </p:cNvSpPr>
            <p:nvPr/>
          </p:nvSpPr>
          <p:spPr bwMode="auto">
            <a:xfrm>
              <a:off x="6547" y="514"/>
              <a:ext cx="846" cy="766"/>
            </a:xfrm>
            <a:custGeom>
              <a:avLst/>
              <a:gdLst>
                <a:gd name="T0" fmla="*/ 172 w 478"/>
                <a:gd name="T1" fmla="*/ 10 h 433"/>
                <a:gd name="T2" fmla="*/ 73 w 478"/>
                <a:gd name="T3" fmla="*/ 75 h 433"/>
                <a:gd name="T4" fmla="*/ 75 w 478"/>
                <a:gd name="T5" fmla="*/ 96 h 433"/>
                <a:gd name="T6" fmla="*/ 84 w 478"/>
                <a:gd name="T7" fmla="*/ 100 h 433"/>
                <a:gd name="T8" fmla="*/ 96 w 478"/>
                <a:gd name="T9" fmla="*/ 95 h 433"/>
                <a:gd name="T10" fmla="*/ 181 w 478"/>
                <a:gd name="T11" fmla="*/ 39 h 433"/>
                <a:gd name="T12" fmla="*/ 191 w 478"/>
                <a:gd name="T13" fmla="*/ 20 h 433"/>
                <a:gd name="T14" fmla="*/ 172 w 478"/>
                <a:gd name="T15" fmla="*/ 10 h 433"/>
                <a:gd name="T16" fmla="*/ 403 w 478"/>
                <a:gd name="T17" fmla="*/ 336 h 433"/>
                <a:gd name="T18" fmla="*/ 382 w 478"/>
                <a:gd name="T19" fmla="*/ 338 h 433"/>
                <a:gd name="T20" fmla="*/ 297 w 478"/>
                <a:gd name="T21" fmla="*/ 394 h 433"/>
                <a:gd name="T22" fmla="*/ 287 w 478"/>
                <a:gd name="T23" fmla="*/ 413 h 433"/>
                <a:gd name="T24" fmla="*/ 301 w 478"/>
                <a:gd name="T25" fmla="*/ 423 h 433"/>
                <a:gd name="T26" fmla="*/ 306 w 478"/>
                <a:gd name="T27" fmla="*/ 422 h 433"/>
                <a:gd name="T28" fmla="*/ 404 w 478"/>
                <a:gd name="T29" fmla="*/ 357 h 433"/>
                <a:gd name="T30" fmla="*/ 403 w 478"/>
                <a:gd name="T31" fmla="*/ 336 h 433"/>
                <a:gd name="T32" fmla="*/ 201 w 478"/>
                <a:gd name="T33" fmla="*/ 216 h 433"/>
                <a:gd name="T34" fmla="*/ 239 w 478"/>
                <a:gd name="T35" fmla="*/ 178 h 433"/>
                <a:gd name="T36" fmla="*/ 277 w 478"/>
                <a:gd name="T37" fmla="*/ 216 h 433"/>
                <a:gd name="T38" fmla="*/ 239 w 478"/>
                <a:gd name="T39" fmla="*/ 254 h 433"/>
                <a:gd name="T40" fmla="*/ 201 w 478"/>
                <a:gd name="T41" fmla="*/ 216 h 433"/>
                <a:gd name="T42" fmla="*/ 235 w 478"/>
                <a:gd name="T43" fmla="*/ 403 h 433"/>
                <a:gd name="T44" fmla="*/ 49 w 478"/>
                <a:gd name="T45" fmla="*/ 218 h 433"/>
                <a:gd name="T46" fmla="*/ 72 w 478"/>
                <a:gd name="T47" fmla="*/ 185 h 433"/>
                <a:gd name="T48" fmla="*/ 36 w 478"/>
                <a:gd name="T49" fmla="*/ 149 h 433"/>
                <a:gd name="T50" fmla="*/ 0 w 478"/>
                <a:gd name="T51" fmla="*/ 185 h 433"/>
                <a:gd name="T52" fmla="*/ 19 w 478"/>
                <a:gd name="T53" fmla="*/ 217 h 433"/>
                <a:gd name="T54" fmla="*/ 235 w 478"/>
                <a:gd name="T55" fmla="*/ 433 h 433"/>
                <a:gd name="T56" fmla="*/ 235 w 478"/>
                <a:gd name="T57" fmla="*/ 433 h 433"/>
                <a:gd name="T58" fmla="*/ 250 w 478"/>
                <a:gd name="T59" fmla="*/ 418 h 433"/>
                <a:gd name="T60" fmla="*/ 235 w 478"/>
                <a:gd name="T61" fmla="*/ 403 h 433"/>
                <a:gd name="T62" fmla="*/ 15 w 478"/>
                <a:gd name="T63" fmla="*/ 185 h 433"/>
                <a:gd name="T64" fmla="*/ 36 w 478"/>
                <a:gd name="T65" fmla="*/ 164 h 433"/>
                <a:gd name="T66" fmla="*/ 57 w 478"/>
                <a:gd name="T67" fmla="*/ 185 h 433"/>
                <a:gd name="T68" fmla="*/ 36 w 478"/>
                <a:gd name="T69" fmla="*/ 206 h 433"/>
                <a:gd name="T70" fmla="*/ 15 w 478"/>
                <a:gd name="T71" fmla="*/ 185 h 433"/>
                <a:gd name="T72" fmla="*/ 458 w 478"/>
                <a:gd name="T73" fmla="*/ 216 h 433"/>
                <a:gd name="T74" fmla="*/ 243 w 478"/>
                <a:gd name="T75" fmla="*/ 0 h 433"/>
                <a:gd name="T76" fmla="*/ 242 w 478"/>
                <a:gd name="T77" fmla="*/ 0 h 433"/>
                <a:gd name="T78" fmla="*/ 228 w 478"/>
                <a:gd name="T79" fmla="*/ 15 h 433"/>
                <a:gd name="T80" fmla="*/ 242 w 478"/>
                <a:gd name="T81" fmla="*/ 30 h 433"/>
                <a:gd name="T82" fmla="*/ 428 w 478"/>
                <a:gd name="T83" fmla="*/ 215 h 433"/>
                <a:gd name="T84" fmla="*/ 405 w 478"/>
                <a:gd name="T85" fmla="*/ 248 h 433"/>
                <a:gd name="T86" fmla="*/ 441 w 478"/>
                <a:gd name="T87" fmla="*/ 284 h 433"/>
                <a:gd name="T88" fmla="*/ 478 w 478"/>
                <a:gd name="T89" fmla="*/ 248 h 433"/>
                <a:gd name="T90" fmla="*/ 458 w 478"/>
                <a:gd name="T91" fmla="*/ 216 h 433"/>
                <a:gd name="T92" fmla="*/ 441 w 478"/>
                <a:gd name="T93" fmla="*/ 269 h 433"/>
                <a:gd name="T94" fmla="*/ 420 w 478"/>
                <a:gd name="T95" fmla="*/ 248 h 433"/>
                <a:gd name="T96" fmla="*/ 441 w 478"/>
                <a:gd name="T97" fmla="*/ 227 h 433"/>
                <a:gd name="T98" fmla="*/ 463 w 478"/>
                <a:gd name="T99" fmla="*/ 248 h 433"/>
                <a:gd name="T100" fmla="*/ 441 w 478"/>
                <a:gd name="T101" fmla="*/ 269 h 433"/>
                <a:gd name="T102" fmla="*/ 239 w 478"/>
                <a:gd name="T103" fmla="*/ 78 h 433"/>
                <a:gd name="T104" fmla="*/ 100 w 478"/>
                <a:gd name="T105" fmla="*/ 216 h 433"/>
                <a:gd name="T106" fmla="*/ 239 w 478"/>
                <a:gd name="T107" fmla="*/ 355 h 433"/>
                <a:gd name="T108" fmla="*/ 377 w 478"/>
                <a:gd name="T109" fmla="*/ 216 h 433"/>
                <a:gd name="T110" fmla="*/ 239 w 478"/>
                <a:gd name="T111" fmla="*/ 78 h 433"/>
                <a:gd name="T112" fmla="*/ 307 w 478"/>
                <a:gd name="T113" fmla="*/ 301 h 433"/>
                <a:gd name="T114" fmla="*/ 239 w 478"/>
                <a:gd name="T115" fmla="*/ 264 h 433"/>
                <a:gd name="T116" fmla="*/ 171 w 478"/>
                <a:gd name="T117" fmla="*/ 301 h 433"/>
                <a:gd name="T118" fmla="*/ 130 w 478"/>
                <a:gd name="T119" fmla="*/ 216 h 433"/>
                <a:gd name="T120" fmla="*/ 239 w 478"/>
                <a:gd name="T121" fmla="*/ 108 h 433"/>
                <a:gd name="T122" fmla="*/ 347 w 478"/>
                <a:gd name="T123" fmla="*/ 216 h 433"/>
                <a:gd name="T124" fmla="*/ 307 w 478"/>
                <a:gd name="T125" fmla="*/ 301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8" h="433">
                  <a:moveTo>
                    <a:pt x="172" y="10"/>
                  </a:moveTo>
                  <a:cubicBezTo>
                    <a:pt x="134" y="22"/>
                    <a:pt x="100" y="45"/>
                    <a:pt x="73" y="75"/>
                  </a:cubicBezTo>
                  <a:cubicBezTo>
                    <a:pt x="68" y="82"/>
                    <a:pt x="68" y="91"/>
                    <a:pt x="75" y="96"/>
                  </a:cubicBezTo>
                  <a:cubicBezTo>
                    <a:pt x="77" y="99"/>
                    <a:pt x="81" y="100"/>
                    <a:pt x="84" y="100"/>
                  </a:cubicBezTo>
                  <a:cubicBezTo>
                    <a:pt x="89" y="100"/>
                    <a:pt x="93" y="98"/>
                    <a:pt x="96" y="95"/>
                  </a:cubicBezTo>
                  <a:cubicBezTo>
                    <a:pt x="119" y="69"/>
                    <a:pt x="148" y="49"/>
                    <a:pt x="181" y="39"/>
                  </a:cubicBezTo>
                  <a:cubicBezTo>
                    <a:pt x="189" y="36"/>
                    <a:pt x="193" y="28"/>
                    <a:pt x="191" y="20"/>
                  </a:cubicBezTo>
                  <a:cubicBezTo>
                    <a:pt x="188" y="12"/>
                    <a:pt x="180" y="8"/>
                    <a:pt x="172" y="10"/>
                  </a:cubicBezTo>
                  <a:close/>
                  <a:moveTo>
                    <a:pt x="403" y="336"/>
                  </a:moveTo>
                  <a:cubicBezTo>
                    <a:pt x="397" y="331"/>
                    <a:pt x="387" y="332"/>
                    <a:pt x="382" y="338"/>
                  </a:cubicBezTo>
                  <a:cubicBezTo>
                    <a:pt x="359" y="364"/>
                    <a:pt x="330" y="383"/>
                    <a:pt x="297" y="394"/>
                  </a:cubicBezTo>
                  <a:cubicBezTo>
                    <a:pt x="289" y="396"/>
                    <a:pt x="284" y="405"/>
                    <a:pt x="287" y="413"/>
                  </a:cubicBezTo>
                  <a:cubicBezTo>
                    <a:pt x="289" y="419"/>
                    <a:pt x="295" y="423"/>
                    <a:pt x="301" y="423"/>
                  </a:cubicBezTo>
                  <a:cubicBezTo>
                    <a:pt x="303" y="423"/>
                    <a:pt x="304" y="423"/>
                    <a:pt x="306" y="422"/>
                  </a:cubicBezTo>
                  <a:cubicBezTo>
                    <a:pt x="344" y="410"/>
                    <a:pt x="378" y="388"/>
                    <a:pt x="404" y="357"/>
                  </a:cubicBezTo>
                  <a:cubicBezTo>
                    <a:pt x="410" y="351"/>
                    <a:pt x="409" y="342"/>
                    <a:pt x="403" y="336"/>
                  </a:cubicBezTo>
                  <a:close/>
                  <a:moveTo>
                    <a:pt x="201" y="216"/>
                  </a:moveTo>
                  <a:cubicBezTo>
                    <a:pt x="201" y="195"/>
                    <a:pt x="218" y="178"/>
                    <a:pt x="239" y="178"/>
                  </a:cubicBezTo>
                  <a:cubicBezTo>
                    <a:pt x="260" y="178"/>
                    <a:pt x="277" y="195"/>
                    <a:pt x="277" y="216"/>
                  </a:cubicBezTo>
                  <a:cubicBezTo>
                    <a:pt x="277" y="237"/>
                    <a:pt x="260" y="254"/>
                    <a:pt x="239" y="254"/>
                  </a:cubicBezTo>
                  <a:cubicBezTo>
                    <a:pt x="218" y="254"/>
                    <a:pt x="201" y="237"/>
                    <a:pt x="201" y="216"/>
                  </a:cubicBezTo>
                  <a:close/>
                  <a:moveTo>
                    <a:pt x="235" y="403"/>
                  </a:moveTo>
                  <a:cubicBezTo>
                    <a:pt x="134" y="401"/>
                    <a:pt x="52" y="319"/>
                    <a:pt x="49" y="218"/>
                  </a:cubicBezTo>
                  <a:cubicBezTo>
                    <a:pt x="63" y="213"/>
                    <a:pt x="72" y="200"/>
                    <a:pt x="72" y="185"/>
                  </a:cubicBezTo>
                  <a:cubicBezTo>
                    <a:pt x="72" y="165"/>
                    <a:pt x="56" y="149"/>
                    <a:pt x="36" y="149"/>
                  </a:cubicBezTo>
                  <a:cubicBezTo>
                    <a:pt x="16" y="149"/>
                    <a:pt x="0" y="165"/>
                    <a:pt x="0" y="185"/>
                  </a:cubicBezTo>
                  <a:cubicBezTo>
                    <a:pt x="0" y="198"/>
                    <a:pt x="8" y="210"/>
                    <a:pt x="19" y="217"/>
                  </a:cubicBezTo>
                  <a:cubicBezTo>
                    <a:pt x="21" y="334"/>
                    <a:pt x="117" y="431"/>
                    <a:pt x="235" y="433"/>
                  </a:cubicBezTo>
                  <a:cubicBezTo>
                    <a:pt x="235" y="433"/>
                    <a:pt x="235" y="433"/>
                    <a:pt x="235" y="433"/>
                  </a:cubicBezTo>
                  <a:cubicBezTo>
                    <a:pt x="243" y="433"/>
                    <a:pt x="250" y="426"/>
                    <a:pt x="250" y="418"/>
                  </a:cubicBezTo>
                  <a:cubicBezTo>
                    <a:pt x="250" y="410"/>
                    <a:pt x="244" y="403"/>
                    <a:pt x="235" y="403"/>
                  </a:cubicBezTo>
                  <a:close/>
                  <a:moveTo>
                    <a:pt x="15" y="185"/>
                  </a:moveTo>
                  <a:cubicBezTo>
                    <a:pt x="15" y="173"/>
                    <a:pt x="25" y="164"/>
                    <a:pt x="36" y="164"/>
                  </a:cubicBezTo>
                  <a:cubicBezTo>
                    <a:pt x="48" y="164"/>
                    <a:pt x="57" y="173"/>
                    <a:pt x="57" y="185"/>
                  </a:cubicBezTo>
                  <a:cubicBezTo>
                    <a:pt x="57" y="196"/>
                    <a:pt x="48" y="206"/>
                    <a:pt x="36" y="206"/>
                  </a:cubicBezTo>
                  <a:cubicBezTo>
                    <a:pt x="25" y="206"/>
                    <a:pt x="15" y="196"/>
                    <a:pt x="15" y="185"/>
                  </a:cubicBezTo>
                  <a:close/>
                  <a:moveTo>
                    <a:pt x="458" y="216"/>
                  </a:moveTo>
                  <a:cubicBezTo>
                    <a:pt x="457" y="99"/>
                    <a:pt x="361" y="2"/>
                    <a:pt x="243" y="0"/>
                  </a:cubicBezTo>
                  <a:cubicBezTo>
                    <a:pt x="242" y="0"/>
                    <a:pt x="242" y="0"/>
                    <a:pt x="242" y="0"/>
                  </a:cubicBezTo>
                  <a:cubicBezTo>
                    <a:pt x="234" y="0"/>
                    <a:pt x="228" y="6"/>
                    <a:pt x="228" y="15"/>
                  </a:cubicBezTo>
                  <a:cubicBezTo>
                    <a:pt x="227" y="23"/>
                    <a:pt x="234" y="30"/>
                    <a:pt x="242" y="30"/>
                  </a:cubicBezTo>
                  <a:cubicBezTo>
                    <a:pt x="343" y="32"/>
                    <a:pt x="426" y="114"/>
                    <a:pt x="428" y="215"/>
                  </a:cubicBezTo>
                  <a:cubicBezTo>
                    <a:pt x="415" y="220"/>
                    <a:pt x="405" y="233"/>
                    <a:pt x="405" y="248"/>
                  </a:cubicBezTo>
                  <a:cubicBezTo>
                    <a:pt x="405" y="268"/>
                    <a:pt x="422" y="284"/>
                    <a:pt x="441" y="284"/>
                  </a:cubicBezTo>
                  <a:cubicBezTo>
                    <a:pt x="461" y="284"/>
                    <a:pt x="478" y="268"/>
                    <a:pt x="478" y="248"/>
                  </a:cubicBezTo>
                  <a:cubicBezTo>
                    <a:pt x="478" y="234"/>
                    <a:pt x="470" y="222"/>
                    <a:pt x="458" y="216"/>
                  </a:cubicBezTo>
                  <a:close/>
                  <a:moveTo>
                    <a:pt x="441" y="269"/>
                  </a:moveTo>
                  <a:cubicBezTo>
                    <a:pt x="430" y="269"/>
                    <a:pt x="420" y="260"/>
                    <a:pt x="420" y="248"/>
                  </a:cubicBezTo>
                  <a:cubicBezTo>
                    <a:pt x="420" y="236"/>
                    <a:pt x="430" y="227"/>
                    <a:pt x="441" y="227"/>
                  </a:cubicBezTo>
                  <a:cubicBezTo>
                    <a:pt x="453" y="227"/>
                    <a:pt x="463" y="236"/>
                    <a:pt x="463" y="248"/>
                  </a:cubicBezTo>
                  <a:cubicBezTo>
                    <a:pt x="463" y="260"/>
                    <a:pt x="453" y="269"/>
                    <a:pt x="441" y="269"/>
                  </a:cubicBezTo>
                  <a:close/>
                  <a:moveTo>
                    <a:pt x="239" y="78"/>
                  </a:moveTo>
                  <a:cubicBezTo>
                    <a:pt x="162" y="78"/>
                    <a:pt x="100" y="140"/>
                    <a:pt x="100" y="216"/>
                  </a:cubicBezTo>
                  <a:cubicBezTo>
                    <a:pt x="100" y="293"/>
                    <a:pt x="162" y="355"/>
                    <a:pt x="239" y="355"/>
                  </a:cubicBezTo>
                  <a:cubicBezTo>
                    <a:pt x="315" y="355"/>
                    <a:pt x="377" y="293"/>
                    <a:pt x="377" y="216"/>
                  </a:cubicBezTo>
                  <a:cubicBezTo>
                    <a:pt x="377" y="140"/>
                    <a:pt x="315" y="78"/>
                    <a:pt x="239" y="78"/>
                  </a:cubicBezTo>
                  <a:close/>
                  <a:moveTo>
                    <a:pt x="307" y="301"/>
                  </a:moveTo>
                  <a:cubicBezTo>
                    <a:pt x="299" y="280"/>
                    <a:pt x="272" y="264"/>
                    <a:pt x="239" y="264"/>
                  </a:cubicBezTo>
                  <a:cubicBezTo>
                    <a:pt x="206" y="264"/>
                    <a:pt x="178" y="280"/>
                    <a:pt x="171" y="301"/>
                  </a:cubicBezTo>
                  <a:cubicBezTo>
                    <a:pt x="146" y="281"/>
                    <a:pt x="130" y="250"/>
                    <a:pt x="130" y="216"/>
                  </a:cubicBezTo>
                  <a:cubicBezTo>
                    <a:pt x="130" y="157"/>
                    <a:pt x="179" y="108"/>
                    <a:pt x="239" y="108"/>
                  </a:cubicBezTo>
                  <a:cubicBezTo>
                    <a:pt x="299" y="108"/>
                    <a:pt x="347" y="157"/>
                    <a:pt x="347" y="216"/>
                  </a:cubicBezTo>
                  <a:cubicBezTo>
                    <a:pt x="347" y="250"/>
                    <a:pt x="332" y="281"/>
                    <a:pt x="307" y="3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60" name="Freeform 64"/>
          <p:cNvSpPr>
            <a:spLocks noEditPoints="1"/>
          </p:cNvSpPr>
          <p:nvPr/>
        </p:nvSpPr>
        <p:spPr bwMode="auto">
          <a:xfrm>
            <a:off x="2461394" y="3483246"/>
            <a:ext cx="463532" cy="464738"/>
          </a:xfrm>
          <a:custGeom>
            <a:avLst/>
            <a:gdLst>
              <a:gd name="T0" fmla="*/ 17 w 196"/>
              <a:gd name="T1" fmla="*/ 0 h 196"/>
              <a:gd name="T2" fmla="*/ 0 w 196"/>
              <a:gd name="T3" fmla="*/ 159 h 196"/>
              <a:gd name="T4" fmla="*/ 17 w 196"/>
              <a:gd name="T5" fmla="*/ 176 h 196"/>
              <a:gd name="T6" fmla="*/ 22 w 196"/>
              <a:gd name="T7" fmla="*/ 185 h 196"/>
              <a:gd name="T8" fmla="*/ 44 w 196"/>
              <a:gd name="T9" fmla="*/ 196 h 196"/>
              <a:gd name="T10" fmla="*/ 54 w 196"/>
              <a:gd name="T11" fmla="*/ 176 h 196"/>
              <a:gd name="T12" fmla="*/ 142 w 196"/>
              <a:gd name="T13" fmla="*/ 185 h 196"/>
              <a:gd name="T14" fmla="*/ 165 w 196"/>
              <a:gd name="T15" fmla="*/ 196 h 196"/>
              <a:gd name="T16" fmla="*/ 174 w 196"/>
              <a:gd name="T17" fmla="*/ 176 h 196"/>
              <a:gd name="T18" fmla="*/ 184 w 196"/>
              <a:gd name="T19" fmla="*/ 175 h 196"/>
              <a:gd name="T20" fmla="*/ 196 w 196"/>
              <a:gd name="T21" fmla="*/ 16 h 196"/>
              <a:gd name="T22" fmla="*/ 80 w 196"/>
              <a:gd name="T23" fmla="*/ 43 h 196"/>
              <a:gd name="T24" fmla="*/ 89 w 196"/>
              <a:gd name="T25" fmla="*/ 48 h 196"/>
              <a:gd name="T26" fmla="*/ 98 w 196"/>
              <a:gd name="T27" fmla="*/ 48 h 196"/>
              <a:gd name="T28" fmla="*/ 98 w 196"/>
              <a:gd name="T29" fmla="*/ 42 h 196"/>
              <a:gd name="T30" fmla="*/ 84 w 196"/>
              <a:gd name="T31" fmla="*/ 36 h 196"/>
              <a:gd name="T32" fmla="*/ 85 w 196"/>
              <a:gd name="T33" fmla="*/ 22 h 196"/>
              <a:gd name="T34" fmla="*/ 103 w 196"/>
              <a:gd name="T35" fmla="*/ 22 h 196"/>
              <a:gd name="T36" fmla="*/ 107 w 196"/>
              <a:gd name="T37" fmla="*/ 30 h 196"/>
              <a:gd name="T38" fmla="*/ 98 w 196"/>
              <a:gd name="T39" fmla="*/ 27 h 196"/>
              <a:gd name="T40" fmla="*/ 90 w 196"/>
              <a:gd name="T41" fmla="*/ 27 h 196"/>
              <a:gd name="T42" fmla="*/ 90 w 196"/>
              <a:gd name="T43" fmla="*/ 32 h 196"/>
              <a:gd name="T44" fmla="*/ 104 w 196"/>
              <a:gd name="T45" fmla="*/ 38 h 196"/>
              <a:gd name="T46" fmla="*/ 104 w 196"/>
              <a:gd name="T47" fmla="*/ 52 h 196"/>
              <a:gd name="T48" fmla="*/ 84 w 196"/>
              <a:gd name="T49" fmla="*/ 52 h 196"/>
              <a:gd name="T50" fmla="*/ 53 w 196"/>
              <a:gd name="T51" fmla="*/ 41 h 196"/>
              <a:gd name="T52" fmla="*/ 45 w 196"/>
              <a:gd name="T53" fmla="*/ 54 h 196"/>
              <a:gd name="T54" fmla="*/ 53 w 196"/>
              <a:gd name="T55" fmla="*/ 20 h 196"/>
              <a:gd name="T56" fmla="*/ 66 w 196"/>
              <a:gd name="T57" fmla="*/ 34 h 196"/>
              <a:gd name="T58" fmla="*/ 74 w 196"/>
              <a:gd name="T59" fmla="*/ 20 h 196"/>
              <a:gd name="T60" fmla="*/ 66 w 196"/>
              <a:gd name="T61" fmla="*/ 54 h 196"/>
              <a:gd name="T62" fmla="*/ 53 w 196"/>
              <a:gd name="T63" fmla="*/ 41 h 196"/>
              <a:gd name="T64" fmla="*/ 132 w 196"/>
              <a:gd name="T65" fmla="*/ 138 h 196"/>
              <a:gd name="T66" fmla="*/ 118 w 196"/>
              <a:gd name="T67" fmla="*/ 130 h 196"/>
              <a:gd name="T68" fmla="*/ 102 w 196"/>
              <a:gd name="T69" fmla="*/ 153 h 196"/>
              <a:gd name="T70" fmla="*/ 94 w 196"/>
              <a:gd name="T71" fmla="*/ 153 h 196"/>
              <a:gd name="T72" fmla="*/ 79 w 196"/>
              <a:gd name="T73" fmla="*/ 130 h 196"/>
              <a:gd name="T74" fmla="*/ 64 w 196"/>
              <a:gd name="T75" fmla="*/ 138 h 196"/>
              <a:gd name="T76" fmla="*/ 62 w 196"/>
              <a:gd name="T77" fmla="*/ 130 h 196"/>
              <a:gd name="T78" fmla="*/ 73 w 196"/>
              <a:gd name="T79" fmla="*/ 114 h 196"/>
              <a:gd name="T80" fmla="*/ 62 w 196"/>
              <a:gd name="T81" fmla="*/ 98 h 196"/>
              <a:gd name="T82" fmla="*/ 66 w 196"/>
              <a:gd name="T83" fmla="*/ 91 h 196"/>
              <a:gd name="T84" fmla="*/ 94 w 196"/>
              <a:gd name="T85" fmla="*/ 90 h 196"/>
              <a:gd name="T86" fmla="*/ 98 w 196"/>
              <a:gd name="T87" fmla="*/ 71 h 196"/>
              <a:gd name="T88" fmla="*/ 102 w 196"/>
              <a:gd name="T89" fmla="*/ 90 h 196"/>
              <a:gd name="T90" fmla="*/ 130 w 196"/>
              <a:gd name="T91" fmla="*/ 91 h 196"/>
              <a:gd name="T92" fmla="*/ 134 w 196"/>
              <a:gd name="T93" fmla="*/ 98 h 196"/>
              <a:gd name="T94" fmla="*/ 123 w 196"/>
              <a:gd name="T95" fmla="*/ 114 h 196"/>
              <a:gd name="T96" fmla="*/ 134 w 196"/>
              <a:gd name="T97" fmla="*/ 130 h 196"/>
              <a:gd name="T98" fmla="*/ 150 w 196"/>
              <a:gd name="T99" fmla="*/ 54 h 196"/>
              <a:gd name="T100" fmla="*/ 142 w 196"/>
              <a:gd name="T101" fmla="*/ 46 h 196"/>
              <a:gd name="T102" fmla="*/ 143 w 196"/>
              <a:gd name="T103" fmla="*/ 30 h 196"/>
              <a:gd name="T104" fmla="*/ 129 w 196"/>
              <a:gd name="T105" fmla="*/ 54 h 196"/>
              <a:gd name="T106" fmla="*/ 121 w 196"/>
              <a:gd name="T107" fmla="*/ 30 h 196"/>
              <a:gd name="T108" fmla="*/ 122 w 196"/>
              <a:gd name="T109" fmla="*/ 54 h 196"/>
              <a:gd name="T110" fmla="*/ 114 w 196"/>
              <a:gd name="T111" fmla="*/ 20 h 196"/>
              <a:gd name="T112" fmla="*/ 132 w 196"/>
              <a:gd name="T113" fmla="*/ 44 h 196"/>
              <a:gd name="T114" fmla="*/ 140 w 196"/>
              <a:gd name="T115" fmla="*/ 20 h 196"/>
              <a:gd name="T116" fmla="*/ 150 w 196"/>
              <a:gd name="T117" fmla="*/ 5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196">
                <a:moveTo>
                  <a:pt x="180" y="0"/>
                </a:moveTo>
                <a:cubicBezTo>
                  <a:pt x="17" y="0"/>
                  <a:pt x="17" y="0"/>
                  <a:pt x="17" y="0"/>
                </a:cubicBezTo>
                <a:cubicBezTo>
                  <a:pt x="7" y="0"/>
                  <a:pt x="0" y="7"/>
                  <a:pt x="0" y="16"/>
                </a:cubicBezTo>
                <a:cubicBezTo>
                  <a:pt x="0" y="159"/>
                  <a:pt x="0" y="159"/>
                  <a:pt x="0" y="159"/>
                </a:cubicBezTo>
                <a:cubicBezTo>
                  <a:pt x="0" y="167"/>
                  <a:pt x="5" y="173"/>
                  <a:pt x="12" y="175"/>
                </a:cubicBezTo>
                <a:cubicBezTo>
                  <a:pt x="13" y="176"/>
                  <a:pt x="15" y="176"/>
                  <a:pt x="17" y="176"/>
                </a:cubicBezTo>
                <a:cubicBezTo>
                  <a:pt x="22" y="176"/>
                  <a:pt x="22" y="176"/>
                  <a:pt x="22" y="176"/>
                </a:cubicBezTo>
                <a:cubicBezTo>
                  <a:pt x="22" y="185"/>
                  <a:pt x="22" y="185"/>
                  <a:pt x="22" y="185"/>
                </a:cubicBezTo>
                <a:cubicBezTo>
                  <a:pt x="22" y="190"/>
                  <a:pt x="26" y="196"/>
                  <a:pt x="32" y="196"/>
                </a:cubicBezTo>
                <a:cubicBezTo>
                  <a:pt x="44" y="196"/>
                  <a:pt x="44" y="196"/>
                  <a:pt x="44" y="196"/>
                </a:cubicBezTo>
                <a:cubicBezTo>
                  <a:pt x="50" y="196"/>
                  <a:pt x="54" y="190"/>
                  <a:pt x="54" y="185"/>
                </a:cubicBezTo>
                <a:cubicBezTo>
                  <a:pt x="54" y="176"/>
                  <a:pt x="54" y="176"/>
                  <a:pt x="54" y="176"/>
                </a:cubicBezTo>
                <a:cubicBezTo>
                  <a:pt x="142" y="176"/>
                  <a:pt x="142" y="176"/>
                  <a:pt x="142" y="176"/>
                </a:cubicBezTo>
                <a:cubicBezTo>
                  <a:pt x="142" y="185"/>
                  <a:pt x="142" y="185"/>
                  <a:pt x="142" y="185"/>
                </a:cubicBezTo>
                <a:cubicBezTo>
                  <a:pt x="142" y="190"/>
                  <a:pt x="146" y="196"/>
                  <a:pt x="152" y="196"/>
                </a:cubicBezTo>
                <a:cubicBezTo>
                  <a:pt x="165" y="196"/>
                  <a:pt x="165" y="196"/>
                  <a:pt x="165" y="196"/>
                </a:cubicBezTo>
                <a:cubicBezTo>
                  <a:pt x="170" y="196"/>
                  <a:pt x="174" y="190"/>
                  <a:pt x="174" y="185"/>
                </a:cubicBezTo>
                <a:cubicBezTo>
                  <a:pt x="174" y="176"/>
                  <a:pt x="174" y="176"/>
                  <a:pt x="174" y="176"/>
                </a:cubicBezTo>
                <a:cubicBezTo>
                  <a:pt x="180" y="176"/>
                  <a:pt x="180" y="176"/>
                  <a:pt x="180" y="176"/>
                </a:cubicBezTo>
                <a:cubicBezTo>
                  <a:pt x="181" y="176"/>
                  <a:pt x="183" y="176"/>
                  <a:pt x="184" y="175"/>
                </a:cubicBezTo>
                <a:cubicBezTo>
                  <a:pt x="191" y="173"/>
                  <a:pt x="196" y="167"/>
                  <a:pt x="196" y="159"/>
                </a:cubicBezTo>
                <a:cubicBezTo>
                  <a:pt x="196" y="16"/>
                  <a:pt x="196" y="16"/>
                  <a:pt x="196" y="16"/>
                </a:cubicBezTo>
                <a:cubicBezTo>
                  <a:pt x="196" y="7"/>
                  <a:pt x="189" y="0"/>
                  <a:pt x="180" y="0"/>
                </a:cubicBezTo>
                <a:close/>
                <a:moveTo>
                  <a:pt x="80" y="43"/>
                </a:moveTo>
                <a:cubicBezTo>
                  <a:pt x="88" y="43"/>
                  <a:pt x="88" y="43"/>
                  <a:pt x="88" y="43"/>
                </a:cubicBezTo>
                <a:cubicBezTo>
                  <a:pt x="88" y="45"/>
                  <a:pt x="88" y="47"/>
                  <a:pt x="89" y="48"/>
                </a:cubicBezTo>
                <a:cubicBezTo>
                  <a:pt x="90" y="48"/>
                  <a:pt x="92" y="49"/>
                  <a:pt x="94" y="49"/>
                </a:cubicBezTo>
                <a:cubicBezTo>
                  <a:pt x="96" y="49"/>
                  <a:pt x="97" y="48"/>
                  <a:pt x="98" y="48"/>
                </a:cubicBezTo>
                <a:cubicBezTo>
                  <a:pt x="99" y="47"/>
                  <a:pt x="99" y="46"/>
                  <a:pt x="99" y="45"/>
                </a:cubicBezTo>
                <a:cubicBezTo>
                  <a:pt x="99" y="44"/>
                  <a:pt x="99" y="43"/>
                  <a:pt x="98" y="42"/>
                </a:cubicBezTo>
                <a:cubicBezTo>
                  <a:pt x="97" y="42"/>
                  <a:pt x="96" y="41"/>
                  <a:pt x="94" y="40"/>
                </a:cubicBezTo>
                <a:cubicBezTo>
                  <a:pt x="89" y="39"/>
                  <a:pt x="86" y="37"/>
                  <a:pt x="84" y="36"/>
                </a:cubicBezTo>
                <a:cubicBezTo>
                  <a:pt x="82" y="34"/>
                  <a:pt x="81" y="32"/>
                  <a:pt x="81" y="29"/>
                </a:cubicBezTo>
                <a:cubicBezTo>
                  <a:pt x="81" y="26"/>
                  <a:pt x="82" y="24"/>
                  <a:pt x="85" y="22"/>
                </a:cubicBezTo>
                <a:cubicBezTo>
                  <a:pt x="87" y="20"/>
                  <a:pt x="90" y="19"/>
                  <a:pt x="94" y="19"/>
                </a:cubicBezTo>
                <a:cubicBezTo>
                  <a:pt x="98" y="19"/>
                  <a:pt x="101" y="20"/>
                  <a:pt x="103" y="22"/>
                </a:cubicBezTo>
                <a:cubicBezTo>
                  <a:pt x="106" y="24"/>
                  <a:pt x="107" y="27"/>
                  <a:pt x="107" y="30"/>
                </a:cubicBezTo>
                <a:cubicBezTo>
                  <a:pt x="107" y="30"/>
                  <a:pt x="107" y="30"/>
                  <a:pt x="107" y="30"/>
                </a:cubicBezTo>
                <a:cubicBezTo>
                  <a:pt x="99" y="30"/>
                  <a:pt x="99" y="30"/>
                  <a:pt x="99" y="30"/>
                </a:cubicBezTo>
                <a:cubicBezTo>
                  <a:pt x="99" y="29"/>
                  <a:pt x="99" y="28"/>
                  <a:pt x="98" y="27"/>
                </a:cubicBezTo>
                <a:cubicBezTo>
                  <a:pt x="97" y="26"/>
                  <a:pt x="96" y="25"/>
                  <a:pt x="94" y="25"/>
                </a:cubicBezTo>
                <a:cubicBezTo>
                  <a:pt x="92" y="25"/>
                  <a:pt x="91" y="26"/>
                  <a:pt x="90" y="27"/>
                </a:cubicBezTo>
                <a:cubicBezTo>
                  <a:pt x="89" y="27"/>
                  <a:pt x="89" y="28"/>
                  <a:pt x="89" y="29"/>
                </a:cubicBezTo>
                <a:cubicBezTo>
                  <a:pt x="89" y="30"/>
                  <a:pt x="89" y="31"/>
                  <a:pt x="90" y="32"/>
                </a:cubicBezTo>
                <a:cubicBezTo>
                  <a:pt x="91" y="32"/>
                  <a:pt x="93" y="33"/>
                  <a:pt x="95" y="34"/>
                </a:cubicBezTo>
                <a:cubicBezTo>
                  <a:pt x="99" y="35"/>
                  <a:pt x="102" y="36"/>
                  <a:pt x="104" y="38"/>
                </a:cubicBezTo>
                <a:cubicBezTo>
                  <a:pt x="106" y="40"/>
                  <a:pt x="107" y="42"/>
                  <a:pt x="107" y="45"/>
                </a:cubicBezTo>
                <a:cubicBezTo>
                  <a:pt x="107" y="48"/>
                  <a:pt x="106" y="51"/>
                  <a:pt x="104" y="52"/>
                </a:cubicBezTo>
                <a:cubicBezTo>
                  <a:pt x="101" y="54"/>
                  <a:pt x="98" y="55"/>
                  <a:pt x="94" y="55"/>
                </a:cubicBezTo>
                <a:cubicBezTo>
                  <a:pt x="90" y="55"/>
                  <a:pt x="87" y="54"/>
                  <a:pt x="84" y="52"/>
                </a:cubicBezTo>
                <a:cubicBezTo>
                  <a:pt x="81" y="50"/>
                  <a:pt x="80" y="47"/>
                  <a:pt x="80" y="43"/>
                </a:cubicBezTo>
                <a:close/>
                <a:moveTo>
                  <a:pt x="53" y="41"/>
                </a:moveTo>
                <a:cubicBezTo>
                  <a:pt x="53" y="54"/>
                  <a:pt x="53" y="54"/>
                  <a:pt x="53" y="54"/>
                </a:cubicBezTo>
                <a:cubicBezTo>
                  <a:pt x="45" y="54"/>
                  <a:pt x="45" y="54"/>
                  <a:pt x="45" y="54"/>
                </a:cubicBezTo>
                <a:cubicBezTo>
                  <a:pt x="45" y="20"/>
                  <a:pt x="45" y="20"/>
                  <a:pt x="45" y="20"/>
                </a:cubicBezTo>
                <a:cubicBezTo>
                  <a:pt x="53" y="20"/>
                  <a:pt x="53" y="20"/>
                  <a:pt x="53" y="20"/>
                </a:cubicBezTo>
                <a:cubicBezTo>
                  <a:pt x="53" y="34"/>
                  <a:pt x="53" y="34"/>
                  <a:pt x="53" y="34"/>
                </a:cubicBezTo>
                <a:cubicBezTo>
                  <a:pt x="66" y="34"/>
                  <a:pt x="66" y="34"/>
                  <a:pt x="66" y="34"/>
                </a:cubicBezTo>
                <a:cubicBezTo>
                  <a:pt x="66" y="20"/>
                  <a:pt x="66" y="20"/>
                  <a:pt x="66" y="20"/>
                </a:cubicBezTo>
                <a:cubicBezTo>
                  <a:pt x="74" y="20"/>
                  <a:pt x="74" y="20"/>
                  <a:pt x="74" y="20"/>
                </a:cubicBezTo>
                <a:cubicBezTo>
                  <a:pt x="74" y="54"/>
                  <a:pt x="74" y="54"/>
                  <a:pt x="74" y="54"/>
                </a:cubicBezTo>
                <a:cubicBezTo>
                  <a:pt x="66" y="54"/>
                  <a:pt x="66" y="54"/>
                  <a:pt x="66" y="54"/>
                </a:cubicBezTo>
                <a:cubicBezTo>
                  <a:pt x="66" y="41"/>
                  <a:pt x="66" y="41"/>
                  <a:pt x="66" y="41"/>
                </a:cubicBezTo>
                <a:lnTo>
                  <a:pt x="53" y="41"/>
                </a:lnTo>
                <a:close/>
                <a:moveTo>
                  <a:pt x="135" y="136"/>
                </a:moveTo>
                <a:cubicBezTo>
                  <a:pt x="135" y="137"/>
                  <a:pt x="133" y="138"/>
                  <a:pt x="132" y="138"/>
                </a:cubicBezTo>
                <a:cubicBezTo>
                  <a:pt x="131" y="138"/>
                  <a:pt x="130" y="138"/>
                  <a:pt x="130" y="137"/>
                </a:cubicBezTo>
                <a:cubicBezTo>
                  <a:pt x="118" y="130"/>
                  <a:pt x="118" y="130"/>
                  <a:pt x="118" y="130"/>
                </a:cubicBezTo>
                <a:cubicBezTo>
                  <a:pt x="114" y="135"/>
                  <a:pt x="109" y="138"/>
                  <a:pt x="102" y="139"/>
                </a:cubicBezTo>
                <a:cubicBezTo>
                  <a:pt x="102" y="153"/>
                  <a:pt x="102" y="153"/>
                  <a:pt x="102" y="153"/>
                </a:cubicBezTo>
                <a:cubicBezTo>
                  <a:pt x="102" y="156"/>
                  <a:pt x="100" y="157"/>
                  <a:pt x="98" y="157"/>
                </a:cubicBezTo>
                <a:cubicBezTo>
                  <a:pt x="96" y="157"/>
                  <a:pt x="94" y="156"/>
                  <a:pt x="94" y="153"/>
                </a:cubicBezTo>
                <a:cubicBezTo>
                  <a:pt x="94" y="139"/>
                  <a:pt x="94" y="139"/>
                  <a:pt x="94" y="139"/>
                </a:cubicBezTo>
                <a:cubicBezTo>
                  <a:pt x="88" y="138"/>
                  <a:pt x="82" y="135"/>
                  <a:pt x="79" y="130"/>
                </a:cubicBezTo>
                <a:cubicBezTo>
                  <a:pt x="66" y="137"/>
                  <a:pt x="66" y="137"/>
                  <a:pt x="66" y="137"/>
                </a:cubicBezTo>
                <a:cubicBezTo>
                  <a:pt x="66" y="138"/>
                  <a:pt x="65" y="138"/>
                  <a:pt x="64" y="138"/>
                </a:cubicBezTo>
                <a:cubicBezTo>
                  <a:pt x="63" y="138"/>
                  <a:pt x="62" y="137"/>
                  <a:pt x="61" y="136"/>
                </a:cubicBezTo>
                <a:cubicBezTo>
                  <a:pt x="60" y="134"/>
                  <a:pt x="60" y="131"/>
                  <a:pt x="62" y="130"/>
                </a:cubicBezTo>
                <a:cubicBezTo>
                  <a:pt x="75" y="123"/>
                  <a:pt x="75" y="123"/>
                  <a:pt x="75" y="123"/>
                </a:cubicBezTo>
                <a:cubicBezTo>
                  <a:pt x="74" y="120"/>
                  <a:pt x="73" y="117"/>
                  <a:pt x="73" y="114"/>
                </a:cubicBezTo>
                <a:cubicBezTo>
                  <a:pt x="73" y="111"/>
                  <a:pt x="74" y="108"/>
                  <a:pt x="75" y="105"/>
                </a:cubicBezTo>
                <a:cubicBezTo>
                  <a:pt x="62" y="98"/>
                  <a:pt x="62" y="98"/>
                  <a:pt x="62" y="98"/>
                </a:cubicBezTo>
                <a:cubicBezTo>
                  <a:pt x="60" y="97"/>
                  <a:pt x="60" y="95"/>
                  <a:pt x="61" y="93"/>
                </a:cubicBezTo>
                <a:cubicBezTo>
                  <a:pt x="62" y="91"/>
                  <a:pt x="64" y="90"/>
                  <a:pt x="66" y="91"/>
                </a:cubicBezTo>
                <a:cubicBezTo>
                  <a:pt x="79" y="98"/>
                  <a:pt x="79" y="98"/>
                  <a:pt x="79" y="98"/>
                </a:cubicBezTo>
                <a:cubicBezTo>
                  <a:pt x="83" y="94"/>
                  <a:pt x="88" y="91"/>
                  <a:pt x="94" y="90"/>
                </a:cubicBezTo>
                <a:cubicBezTo>
                  <a:pt x="94" y="75"/>
                  <a:pt x="94" y="75"/>
                  <a:pt x="94" y="75"/>
                </a:cubicBezTo>
                <a:cubicBezTo>
                  <a:pt x="94" y="73"/>
                  <a:pt x="96" y="71"/>
                  <a:pt x="98" y="71"/>
                </a:cubicBezTo>
                <a:cubicBezTo>
                  <a:pt x="100" y="71"/>
                  <a:pt x="102" y="73"/>
                  <a:pt x="102" y="75"/>
                </a:cubicBezTo>
                <a:cubicBezTo>
                  <a:pt x="102" y="90"/>
                  <a:pt x="102" y="90"/>
                  <a:pt x="102" y="90"/>
                </a:cubicBezTo>
                <a:cubicBezTo>
                  <a:pt x="108" y="91"/>
                  <a:pt x="113" y="94"/>
                  <a:pt x="117" y="98"/>
                </a:cubicBezTo>
                <a:cubicBezTo>
                  <a:pt x="130" y="91"/>
                  <a:pt x="130" y="91"/>
                  <a:pt x="130" y="91"/>
                </a:cubicBezTo>
                <a:cubicBezTo>
                  <a:pt x="132" y="90"/>
                  <a:pt x="134" y="91"/>
                  <a:pt x="135" y="93"/>
                </a:cubicBezTo>
                <a:cubicBezTo>
                  <a:pt x="136" y="95"/>
                  <a:pt x="136" y="97"/>
                  <a:pt x="134" y="98"/>
                </a:cubicBezTo>
                <a:cubicBezTo>
                  <a:pt x="121" y="105"/>
                  <a:pt x="121" y="105"/>
                  <a:pt x="121" y="105"/>
                </a:cubicBezTo>
                <a:cubicBezTo>
                  <a:pt x="122" y="108"/>
                  <a:pt x="123" y="111"/>
                  <a:pt x="123" y="114"/>
                </a:cubicBezTo>
                <a:cubicBezTo>
                  <a:pt x="123" y="117"/>
                  <a:pt x="123" y="120"/>
                  <a:pt x="122" y="123"/>
                </a:cubicBezTo>
                <a:cubicBezTo>
                  <a:pt x="134" y="130"/>
                  <a:pt x="134" y="130"/>
                  <a:pt x="134" y="130"/>
                </a:cubicBezTo>
                <a:cubicBezTo>
                  <a:pt x="136" y="131"/>
                  <a:pt x="137" y="134"/>
                  <a:pt x="135" y="136"/>
                </a:cubicBezTo>
                <a:close/>
                <a:moveTo>
                  <a:pt x="150" y="54"/>
                </a:moveTo>
                <a:cubicBezTo>
                  <a:pt x="142" y="54"/>
                  <a:pt x="142" y="54"/>
                  <a:pt x="142" y="54"/>
                </a:cubicBezTo>
                <a:cubicBezTo>
                  <a:pt x="142" y="46"/>
                  <a:pt x="142" y="46"/>
                  <a:pt x="142" y="46"/>
                </a:cubicBezTo>
                <a:cubicBezTo>
                  <a:pt x="143" y="30"/>
                  <a:pt x="143" y="30"/>
                  <a:pt x="143" y="30"/>
                </a:cubicBezTo>
                <a:cubicBezTo>
                  <a:pt x="143" y="30"/>
                  <a:pt x="143" y="30"/>
                  <a:pt x="143" y="30"/>
                </a:cubicBezTo>
                <a:cubicBezTo>
                  <a:pt x="135" y="54"/>
                  <a:pt x="135" y="54"/>
                  <a:pt x="135" y="54"/>
                </a:cubicBezTo>
                <a:cubicBezTo>
                  <a:pt x="129" y="54"/>
                  <a:pt x="129" y="54"/>
                  <a:pt x="129" y="54"/>
                </a:cubicBezTo>
                <a:cubicBezTo>
                  <a:pt x="121" y="30"/>
                  <a:pt x="121" y="30"/>
                  <a:pt x="121" y="30"/>
                </a:cubicBezTo>
                <a:cubicBezTo>
                  <a:pt x="121" y="30"/>
                  <a:pt x="121" y="30"/>
                  <a:pt x="121" y="30"/>
                </a:cubicBezTo>
                <a:cubicBezTo>
                  <a:pt x="122" y="46"/>
                  <a:pt x="122" y="46"/>
                  <a:pt x="122" y="46"/>
                </a:cubicBezTo>
                <a:cubicBezTo>
                  <a:pt x="122" y="54"/>
                  <a:pt x="122" y="54"/>
                  <a:pt x="122" y="54"/>
                </a:cubicBezTo>
                <a:cubicBezTo>
                  <a:pt x="114" y="54"/>
                  <a:pt x="114" y="54"/>
                  <a:pt x="114" y="54"/>
                </a:cubicBezTo>
                <a:cubicBezTo>
                  <a:pt x="114" y="20"/>
                  <a:pt x="114" y="20"/>
                  <a:pt x="114" y="20"/>
                </a:cubicBezTo>
                <a:cubicBezTo>
                  <a:pt x="124" y="20"/>
                  <a:pt x="124" y="20"/>
                  <a:pt x="124" y="20"/>
                </a:cubicBezTo>
                <a:cubicBezTo>
                  <a:pt x="132" y="44"/>
                  <a:pt x="132" y="44"/>
                  <a:pt x="132" y="44"/>
                </a:cubicBezTo>
                <a:cubicBezTo>
                  <a:pt x="132" y="44"/>
                  <a:pt x="132" y="44"/>
                  <a:pt x="132" y="44"/>
                </a:cubicBezTo>
                <a:cubicBezTo>
                  <a:pt x="140" y="20"/>
                  <a:pt x="140" y="20"/>
                  <a:pt x="140" y="20"/>
                </a:cubicBezTo>
                <a:cubicBezTo>
                  <a:pt x="150" y="20"/>
                  <a:pt x="150" y="20"/>
                  <a:pt x="150" y="20"/>
                </a:cubicBezTo>
                <a:lnTo>
                  <a:pt x="150"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nvGrpSpPr>
          <p:cNvPr id="73" name="Gruppieren 72"/>
          <p:cNvGrpSpPr>
            <a:grpSpLocks noChangeAspect="1"/>
          </p:cNvGrpSpPr>
          <p:nvPr/>
        </p:nvGrpSpPr>
        <p:grpSpPr>
          <a:xfrm>
            <a:off x="4590826" y="3187061"/>
            <a:ext cx="1033200" cy="1033200"/>
            <a:chOff x="5480050" y="2813050"/>
            <a:chExt cx="1231900" cy="1231900"/>
          </a:xfrm>
        </p:grpSpPr>
        <p:sp>
          <p:nvSpPr>
            <p:cNvPr id="74" name="AutoShape 3"/>
            <p:cNvSpPr>
              <a:spLocks noChangeAspect="1" noChangeArrowheads="1" noTextEdit="1"/>
            </p:cNvSpPr>
            <p:nvPr/>
          </p:nvSpPr>
          <p:spPr bwMode="auto">
            <a:xfrm>
              <a:off x="5480050" y="2813050"/>
              <a:ext cx="1231900"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6"/>
            <p:cNvSpPr>
              <a:spLocks/>
            </p:cNvSpPr>
            <p:nvPr/>
          </p:nvSpPr>
          <p:spPr bwMode="auto">
            <a:xfrm>
              <a:off x="5786438" y="3200400"/>
              <a:ext cx="615950" cy="450850"/>
            </a:xfrm>
            <a:custGeom>
              <a:avLst/>
              <a:gdLst>
                <a:gd name="T0" fmla="*/ 203 w 219"/>
                <a:gd name="T1" fmla="*/ 0 h 160"/>
                <a:gd name="T2" fmla="*/ 15 w 219"/>
                <a:gd name="T3" fmla="*/ 0 h 160"/>
                <a:gd name="T4" fmla="*/ 0 w 219"/>
                <a:gd name="T5" fmla="*/ 15 h 160"/>
                <a:gd name="T6" fmla="*/ 0 w 219"/>
                <a:gd name="T7" fmla="*/ 145 h 160"/>
                <a:gd name="T8" fmla="*/ 15 w 219"/>
                <a:gd name="T9" fmla="*/ 160 h 160"/>
                <a:gd name="T10" fmla="*/ 203 w 219"/>
                <a:gd name="T11" fmla="*/ 160 h 160"/>
                <a:gd name="T12" fmla="*/ 219 w 219"/>
                <a:gd name="T13" fmla="*/ 145 h 160"/>
                <a:gd name="T14" fmla="*/ 219 w 219"/>
                <a:gd name="T15" fmla="*/ 15 h 160"/>
                <a:gd name="T16" fmla="*/ 203 w 219"/>
                <a:gd name="T1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60">
                  <a:moveTo>
                    <a:pt x="203" y="0"/>
                  </a:moveTo>
                  <a:cubicBezTo>
                    <a:pt x="15" y="0"/>
                    <a:pt x="15" y="0"/>
                    <a:pt x="15" y="0"/>
                  </a:cubicBezTo>
                  <a:cubicBezTo>
                    <a:pt x="7" y="0"/>
                    <a:pt x="0" y="7"/>
                    <a:pt x="0" y="15"/>
                  </a:cubicBezTo>
                  <a:cubicBezTo>
                    <a:pt x="0" y="145"/>
                    <a:pt x="0" y="145"/>
                    <a:pt x="0" y="145"/>
                  </a:cubicBezTo>
                  <a:cubicBezTo>
                    <a:pt x="0" y="153"/>
                    <a:pt x="7" y="160"/>
                    <a:pt x="15" y="160"/>
                  </a:cubicBezTo>
                  <a:cubicBezTo>
                    <a:pt x="203" y="160"/>
                    <a:pt x="203" y="160"/>
                    <a:pt x="203" y="160"/>
                  </a:cubicBezTo>
                  <a:cubicBezTo>
                    <a:pt x="212" y="160"/>
                    <a:pt x="219" y="153"/>
                    <a:pt x="219" y="145"/>
                  </a:cubicBezTo>
                  <a:cubicBezTo>
                    <a:pt x="219" y="15"/>
                    <a:pt x="219" y="15"/>
                    <a:pt x="219" y="15"/>
                  </a:cubicBezTo>
                  <a:cubicBezTo>
                    <a:pt x="219" y="7"/>
                    <a:pt x="212" y="0"/>
                    <a:pt x="20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7"/>
            <p:cNvSpPr>
              <a:spLocks noEditPoints="1"/>
            </p:cNvSpPr>
            <p:nvPr/>
          </p:nvSpPr>
          <p:spPr bwMode="auto">
            <a:xfrm>
              <a:off x="5834063" y="3406775"/>
              <a:ext cx="225425" cy="174625"/>
            </a:xfrm>
            <a:custGeom>
              <a:avLst/>
              <a:gdLst>
                <a:gd name="T0" fmla="*/ 70 w 80"/>
                <a:gd name="T1" fmla="*/ 0 h 62"/>
                <a:gd name="T2" fmla="*/ 10 w 80"/>
                <a:gd name="T3" fmla="*/ 0 h 62"/>
                <a:gd name="T4" fmla="*/ 0 w 80"/>
                <a:gd name="T5" fmla="*/ 10 h 62"/>
                <a:gd name="T6" fmla="*/ 0 w 80"/>
                <a:gd name="T7" fmla="*/ 52 h 62"/>
                <a:gd name="T8" fmla="*/ 10 w 80"/>
                <a:gd name="T9" fmla="*/ 62 h 62"/>
                <a:gd name="T10" fmla="*/ 70 w 80"/>
                <a:gd name="T11" fmla="*/ 62 h 62"/>
                <a:gd name="T12" fmla="*/ 80 w 80"/>
                <a:gd name="T13" fmla="*/ 52 h 62"/>
                <a:gd name="T14" fmla="*/ 80 w 80"/>
                <a:gd name="T15" fmla="*/ 10 h 62"/>
                <a:gd name="T16" fmla="*/ 70 w 80"/>
                <a:gd name="T17" fmla="*/ 0 h 62"/>
                <a:gd name="T18" fmla="*/ 9 w 80"/>
                <a:gd name="T19" fmla="*/ 26 h 62"/>
                <a:gd name="T20" fmla="*/ 27 w 80"/>
                <a:gd name="T21" fmla="*/ 26 h 62"/>
                <a:gd name="T22" fmla="*/ 27 w 80"/>
                <a:gd name="T23" fmla="*/ 35 h 62"/>
                <a:gd name="T24" fmla="*/ 9 w 80"/>
                <a:gd name="T25" fmla="*/ 35 h 62"/>
                <a:gd name="T26" fmla="*/ 9 w 80"/>
                <a:gd name="T27" fmla="*/ 26 h 62"/>
                <a:gd name="T28" fmla="*/ 10 w 80"/>
                <a:gd name="T29" fmla="*/ 53 h 62"/>
                <a:gd name="T30" fmla="*/ 9 w 80"/>
                <a:gd name="T31" fmla="*/ 52 h 62"/>
                <a:gd name="T32" fmla="*/ 9 w 80"/>
                <a:gd name="T33" fmla="*/ 44 h 62"/>
                <a:gd name="T34" fmla="*/ 27 w 80"/>
                <a:gd name="T35" fmla="*/ 44 h 62"/>
                <a:gd name="T36" fmla="*/ 27 w 80"/>
                <a:gd name="T37" fmla="*/ 52 h 62"/>
                <a:gd name="T38" fmla="*/ 27 w 80"/>
                <a:gd name="T39" fmla="*/ 53 h 62"/>
                <a:gd name="T40" fmla="*/ 10 w 80"/>
                <a:gd name="T41" fmla="*/ 53 h 62"/>
                <a:gd name="T42" fmla="*/ 27 w 80"/>
                <a:gd name="T43" fmla="*/ 10 h 62"/>
                <a:gd name="T44" fmla="*/ 27 w 80"/>
                <a:gd name="T45" fmla="*/ 17 h 62"/>
                <a:gd name="T46" fmla="*/ 9 w 80"/>
                <a:gd name="T47" fmla="*/ 17 h 62"/>
                <a:gd name="T48" fmla="*/ 9 w 80"/>
                <a:gd name="T49" fmla="*/ 10 h 62"/>
                <a:gd name="T50" fmla="*/ 10 w 80"/>
                <a:gd name="T51" fmla="*/ 9 h 62"/>
                <a:gd name="T52" fmla="*/ 27 w 80"/>
                <a:gd name="T53" fmla="*/ 9 h 62"/>
                <a:gd name="T54" fmla="*/ 27 w 80"/>
                <a:gd name="T55" fmla="*/ 10 h 62"/>
                <a:gd name="T56" fmla="*/ 71 w 80"/>
                <a:gd name="T57" fmla="*/ 52 h 62"/>
                <a:gd name="T58" fmla="*/ 70 w 80"/>
                <a:gd name="T59" fmla="*/ 53 h 62"/>
                <a:gd name="T60" fmla="*/ 53 w 80"/>
                <a:gd name="T61" fmla="*/ 53 h 62"/>
                <a:gd name="T62" fmla="*/ 53 w 80"/>
                <a:gd name="T63" fmla="*/ 52 h 62"/>
                <a:gd name="T64" fmla="*/ 53 w 80"/>
                <a:gd name="T65" fmla="*/ 44 h 62"/>
                <a:gd name="T66" fmla="*/ 71 w 80"/>
                <a:gd name="T67" fmla="*/ 44 h 62"/>
                <a:gd name="T68" fmla="*/ 71 w 80"/>
                <a:gd name="T69" fmla="*/ 52 h 62"/>
                <a:gd name="T70" fmla="*/ 71 w 80"/>
                <a:gd name="T71" fmla="*/ 35 h 62"/>
                <a:gd name="T72" fmla="*/ 53 w 80"/>
                <a:gd name="T73" fmla="*/ 35 h 62"/>
                <a:gd name="T74" fmla="*/ 53 w 80"/>
                <a:gd name="T75" fmla="*/ 27 h 62"/>
                <a:gd name="T76" fmla="*/ 54 w 80"/>
                <a:gd name="T77" fmla="*/ 26 h 62"/>
                <a:gd name="T78" fmla="*/ 70 w 80"/>
                <a:gd name="T79" fmla="*/ 26 h 62"/>
                <a:gd name="T80" fmla="*/ 71 w 80"/>
                <a:gd name="T81" fmla="*/ 26 h 62"/>
                <a:gd name="T82" fmla="*/ 71 w 80"/>
                <a:gd name="T83" fmla="*/ 35 h 62"/>
                <a:gd name="T84" fmla="*/ 71 w 80"/>
                <a:gd name="T85" fmla="*/ 16 h 62"/>
                <a:gd name="T86" fmla="*/ 70 w 80"/>
                <a:gd name="T87" fmla="*/ 17 h 62"/>
                <a:gd name="T88" fmla="*/ 54 w 80"/>
                <a:gd name="T89" fmla="*/ 17 h 62"/>
                <a:gd name="T90" fmla="*/ 44 w 80"/>
                <a:gd name="T91" fmla="*/ 27 h 62"/>
                <a:gd name="T92" fmla="*/ 44 w 80"/>
                <a:gd name="T93" fmla="*/ 52 h 62"/>
                <a:gd name="T94" fmla="*/ 43 w 80"/>
                <a:gd name="T95" fmla="*/ 53 h 62"/>
                <a:gd name="T96" fmla="*/ 37 w 80"/>
                <a:gd name="T97" fmla="*/ 53 h 62"/>
                <a:gd name="T98" fmla="*/ 35 w 80"/>
                <a:gd name="T99" fmla="*/ 52 h 62"/>
                <a:gd name="T100" fmla="*/ 35 w 80"/>
                <a:gd name="T101" fmla="*/ 10 h 62"/>
                <a:gd name="T102" fmla="*/ 37 w 80"/>
                <a:gd name="T103" fmla="*/ 9 h 62"/>
                <a:gd name="T104" fmla="*/ 70 w 80"/>
                <a:gd name="T105" fmla="*/ 9 h 62"/>
                <a:gd name="T106" fmla="*/ 71 w 80"/>
                <a:gd name="T107" fmla="*/ 10 h 62"/>
                <a:gd name="T108" fmla="*/ 71 w 80"/>
                <a:gd name="T109" fmla="*/ 1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 h="62">
                  <a:moveTo>
                    <a:pt x="70" y="0"/>
                  </a:moveTo>
                  <a:cubicBezTo>
                    <a:pt x="10" y="0"/>
                    <a:pt x="10" y="0"/>
                    <a:pt x="10" y="0"/>
                  </a:cubicBezTo>
                  <a:cubicBezTo>
                    <a:pt x="5" y="0"/>
                    <a:pt x="0" y="4"/>
                    <a:pt x="0" y="10"/>
                  </a:cubicBezTo>
                  <a:cubicBezTo>
                    <a:pt x="0" y="52"/>
                    <a:pt x="0" y="52"/>
                    <a:pt x="0" y="52"/>
                  </a:cubicBezTo>
                  <a:cubicBezTo>
                    <a:pt x="0" y="57"/>
                    <a:pt x="5" y="62"/>
                    <a:pt x="10" y="62"/>
                  </a:cubicBezTo>
                  <a:cubicBezTo>
                    <a:pt x="70" y="62"/>
                    <a:pt x="70" y="62"/>
                    <a:pt x="70" y="62"/>
                  </a:cubicBezTo>
                  <a:cubicBezTo>
                    <a:pt x="75" y="62"/>
                    <a:pt x="80" y="57"/>
                    <a:pt x="80" y="52"/>
                  </a:cubicBezTo>
                  <a:cubicBezTo>
                    <a:pt x="80" y="10"/>
                    <a:pt x="80" y="10"/>
                    <a:pt x="80" y="10"/>
                  </a:cubicBezTo>
                  <a:cubicBezTo>
                    <a:pt x="80" y="4"/>
                    <a:pt x="75" y="0"/>
                    <a:pt x="70" y="0"/>
                  </a:cubicBezTo>
                  <a:close/>
                  <a:moveTo>
                    <a:pt x="9" y="26"/>
                  </a:moveTo>
                  <a:cubicBezTo>
                    <a:pt x="27" y="26"/>
                    <a:pt x="27" y="26"/>
                    <a:pt x="27" y="26"/>
                  </a:cubicBezTo>
                  <a:cubicBezTo>
                    <a:pt x="27" y="35"/>
                    <a:pt x="27" y="35"/>
                    <a:pt x="27" y="35"/>
                  </a:cubicBezTo>
                  <a:cubicBezTo>
                    <a:pt x="9" y="35"/>
                    <a:pt x="9" y="35"/>
                    <a:pt x="9" y="35"/>
                  </a:cubicBezTo>
                  <a:lnTo>
                    <a:pt x="9" y="26"/>
                  </a:lnTo>
                  <a:close/>
                  <a:moveTo>
                    <a:pt x="10" y="53"/>
                  </a:moveTo>
                  <a:cubicBezTo>
                    <a:pt x="9" y="53"/>
                    <a:pt x="9" y="52"/>
                    <a:pt x="9" y="52"/>
                  </a:cubicBezTo>
                  <a:cubicBezTo>
                    <a:pt x="9" y="44"/>
                    <a:pt x="9" y="44"/>
                    <a:pt x="9" y="44"/>
                  </a:cubicBezTo>
                  <a:cubicBezTo>
                    <a:pt x="27" y="44"/>
                    <a:pt x="27" y="44"/>
                    <a:pt x="27" y="44"/>
                  </a:cubicBezTo>
                  <a:cubicBezTo>
                    <a:pt x="27" y="52"/>
                    <a:pt x="27" y="52"/>
                    <a:pt x="27" y="52"/>
                  </a:cubicBezTo>
                  <a:cubicBezTo>
                    <a:pt x="27" y="52"/>
                    <a:pt x="27" y="52"/>
                    <a:pt x="27" y="53"/>
                  </a:cubicBezTo>
                  <a:lnTo>
                    <a:pt x="10" y="53"/>
                  </a:lnTo>
                  <a:close/>
                  <a:moveTo>
                    <a:pt x="27" y="10"/>
                  </a:moveTo>
                  <a:cubicBezTo>
                    <a:pt x="27" y="17"/>
                    <a:pt x="27" y="17"/>
                    <a:pt x="27" y="17"/>
                  </a:cubicBezTo>
                  <a:cubicBezTo>
                    <a:pt x="9" y="17"/>
                    <a:pt x="9" y="17"/>
                    <a:pt x="9" y="17"/>
                  </a:cubicBezTo>
                  <a:cubicBezTo>
                    <a:pt x="9" y="10"/>
                    <a:pt x="9" y="10"/>
                    <a:pt x="9" y="10"/>
                  </a:cubicBezTo>
                  <a:cubicBezTo>
                    <a:pt x="9" y="9"/>
                    <a:pt x="9" y="9"/>
                    <a:pt x="10" y="9"/>
                  </a:cubicBezTo>
                  <a:cubicBezTo>
                    <a:pt x="27" y="9"/>
                    <a:pt x="27" y="9"/>
                    <a:pt x="27" y="9"/>
                  </a:cubicBezTo>
                  <a:cubicBezTo>
                    <a:pt x="27" y="9"/>
                    <a:pt x="27" y="9"/>
                    <a:pt x="27" y="10"/>
                  </a:cubicBezTo>
                  <a:close/>
                  <a:moveTo>
                    <a:pt x="71" y="52"/>
                  </a:moveTo>
                  <a:cubicBezTo>
                    <a:pt x="71" y="52"/>
                    <a:pt x="70" y="53"/>
                    <a:pt x="70" y="53"/>
                  </a:cubicBezTo>
                  <a:cubicBezTo>
                    <a:pt x="53" y="53"/>
                    <a:pt x="53" y="53"/>
                    <a:pt x="53" y="53"/>
                  </a:cubicBezTo>
                  <a:cubicBezTo>
                    <a:pt x="53" y="52"/>
                    <a:pt x="53" y="52"/>
                    <a:pt x="53" y="52"/>
                  </a:cubicBezTo>
                  <a:cubicBezTo>
                    <a:pt x="53" y="44"/>
                    <a:pt x="53" y="44"/>
                    <a:pt x="53" y="44"/>
                  </a:cubicBezTo>
                  <a:cubicBezTo>
                    <a:pt x="71" y="44"/>
                    <a:pt x="71" y="44"/>
                    <a:pt x="71" y="44"/>
                  </a:cubicBezTo>
                  <a:lnTo>
                    <a:pt x="71" y="52"/>
                  </a:lnTo>
                  <a:close/>
                  <a:moveTo>
                    <a:pt x="71" y="35"/>
                  </a:moveTo>
                  <a:cubicBezTo>
                    <a:pt x="53" y="35"/>
                    <a:pt x="53" y="35"/>
                    <a:pt x="53" y="35"/>
                  </a:cubicBezTo>
                  <a:cubicBezTo>
                    <a:pt x="53" y="27"/>
                    <a:pt x="53" y="27"/>
                    <a:pt x="53" y="27"/>
                  </a:cubicBezTo>
                  <a:cubicBezTo>
                    <a:pt x="53" y="27"/>
                    <a:pt x="54" y="26"/>
                    <a:pt x="54" y="26"/>
                  </a:cubicBezTo>
                  <a:cubicBezTo>
                    <a:pt x="70" y="26"/>
                    <a:pt x="70" y="26"/>
                    <a:pt x="70" y="26"/>
                  </a:cubicBezTo>
                  <a:cubicBezTo>
                    <a:pt x="70" y="26"/>
                    <a:pt x="71" y="26"/>
                    <a:pt x="71" y="26"/>
                  </a:cubicBezTo>
                  <a:lnTo>
                    <a:pt x="71" y="35"/>
                  </a:lnTo>
                  <a:close/>
                  <a:moveTo>
                    <a:pt x="71" y="16"/>
                  </a:moveTo>
                  <a:cubicBezTo>
                    <a:pt x="71" y="17"/>
                    <a:pt x="70" y="17"/>
                    <a:pt x="70" y="17"/>
                  </a:cubicBezTo>
                  <a:cubicBezTo>
                    <a:pt x="54" y="17"/>
                    <a:pt x="54" y="17"/>
                    <a:pt x="54" y="17"/>
                  </a:cubicBezTo>
                  <a:cubicBezTo>
                    <a:pt x="49" y="17"/>
                    <a:pt x="44" y="22"/>
                    <a:pt x="44" y="27"/>
                  </a:cubicBezTo>
                  <a:cubicBezTo>
                    <a:pt x="44" y="52"/>
                    <a:pt x="44" y="52"/>
                    <a:pt x="44" y="52"/>
                  </a:cubicBezTo>
                  <a:cubicBezTo>
                    <a:pt x="44" y="52"/>
                    <a:pt x="44" y="53"/>
                    <a:pt x="43" y="53"/>
                  </a:cubicBezTo>
                  <a:cubicBezTo>
                    <a:pt x="37" y="53"/>
                    <a:pt x="37" y="53"/>
                    <a:pt x="37" y="53"/>
                  </a:cubicBezTo>
                  <a:cubicBezTo>
                    <a:pt x="36" y="53"/>
                    <a:pt x="35" y="52"/>
                    <a:pt x="35" y="52"/>
                  </a:cubicBezTo>
                  <a:cubicBezTo>
                    <a:pt x="35" y="10"/>
                    <a:pt x="35" y="10"/>
                    <a:pt x="35" y="10"/>
                  </a:cubicBezTo>
                  <a:cubicBezTo>
                    <a:pt x="35" y="9"/>
                    <a:pt x="36" y="9"/>
                    <a:pt x="37" y="9"/>
                  </a:cubicBezTo>
                  <a:cubicBezTo>
                    <a:pt x="70" y="9"/>
                    <a:pt x="70" y="9"/>
                    <a:pt x="70" y="9"/>
                  </a:cubicBezTo>
                  <a:cubicBezTo>
                    <a:pt x="70" y="9"/>
                    <a:pt x="71" y="9"/>
                    <a:pt x="71" y="10"/>
                  </a:cubicBezTo>
                  <a:lnTo>
                    <a:pt x="71" y="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sp>
          <p:nvSpPr>
            <p:cNvPr id="78" name="Freeform 8"/>
            <p:cNvSpPr>
              <a:spLocks noEditPoints="1"/>
            </p:cNvSpPr>
            <p:nvPr/>
          </p:nvSpPr>
          <p:spPr bwMode="auto">
            <a:xfrm>
              <a:off x="6135688" y="3254375"/>
              <a:ext cx="219075" cy="279400"/>
            </a:xfrm>
            <a:custGeom>
              <a:avLst/>
              <a:gdLst>
                <a:gd name="T0" fmla="*/ 60 w 78"/>
                <a:gd name="T1" fmla="*/ 99 h 99"/>
                <a:gd name="T2" fmla="*/ 56 w 78"/>
                <a:gd name="T3" fmla="*/ 95 h 99"/>
                <a:gd name="T4" fmla="*/ 58 w 78"/>
                <a:gd name="T5" fmla="*/ 90 h 99"/>
                <a:gd name="T6" fmla="*/ 68 w 78"/>
                <a:gd name="T7" fmla="*/ 50 h 99"/>
                <a:gd name="T8" fmla="*/ 59 w 78"/>
                <a:gd name="T9" fmla="*/ 11 h 99"/>
                <a:gd name="T10" fmla="*/ 56 w 78"/>
                <a:gd name="T11" fmla="*/ 6 h 99"/>
                <a:gd name="T12" fmla="*/ 59 w 78"/>
                <a:gd name="T13" fmla="*/ 1 h 99"/>
                <a:gd name="T14" fmla="*/ 65 w 78"/>
                <a:gd name="T15" fmla="*/ 2 h 99"/>
                <a:gd name="T16" fmla="*/ 68 w 78"/>
                <a:gd name="T17" fmla="*/ 7 h 99"/>
                <a:gd name="T18" fmla="*/ 77 w 78"/>
                <a:gd name="T19" fmla="*/ 36 h 99"/>
                <a:gd name="T20" fmla="*/ 78 w 78"/>
                <a:gd name="T21" fmla="*/ 61 h 99"/>
                <a:gd name="T22" fmla="*/ 69 w 78"/>
                <a:gd name="T23" fmla="*/ 91 h 99"/>
                <a:gd name="T24" fmla="*/ 63 w 78"/>
                <a:gd name="T25" fmla="*/ 99 h 99"/>
                <a:gd name="T26" fmla="*/ 62 w 78"/>
                <a:gd name="T27" fmla="*/ 99 h 99"/>
                <a:gd name="T28" fmla="*/ 60 w 78"/>
                <a:gd name="T29" fmla="*/ 99 h 99"/>
                <a:gd name="T30" fmla="*/ 60 w 78"/>
                <a:gd name="T31" fmla="*/ 99 h 99"/>
                <a:gd name="T32" fmla="*/ 41 w 78"/>
                <a:gd name="T33" fmla="*/ 89 h 99"/>
                <a:gd name="T34" fmla="*/ 37 w 78"/>
                <a:gd name="T35" fmla="*/ 83 h 99"/>
                <a:gd name="T36" fmla="*/ 40 w 78"/>
                <a:gd name="T37" fmla="*/ 78 h 99"/>
                <a:gd name="T38" fmla="*/ 46 w 78"/>
                <a:gd name="T39" fmla="*/ 45 h 99"/>
                <a:gd name="T40" fmla="*/ 40 w 78"/>
                <a:gd name="T41" fmla="*/ 21 h 99"/>
                <a:gd name="T42" fmla="*/ 38 w 78"/>
                <a:gd name="T43" fmla="*/ 12 h 99"/>
                <a:gd name="T44" fmla="*/ 46 w 78"/>
                <a:gd name="T45" fmla="*/ 12 h 99"/>
                <a:gd name="T46" fmla="*/ 53 w 78"/>
                <a:gd name="T47" fmla="*/ 27 h 99"/>
                <a:gd name="T48" fmla="*/ 51 w 78"/>
                <a:gd name="T49" fmla="*/ 79 h 99"/>
                <a:gd name="T50" fmla="*/ 41 w 78"/>
                <a:gd name="T51" fmla="*/ 89 h 99"/>
                <a:gd name="T52" fmla="*/ 21 w 78"/>
                <a:gd name="T53" fmla="*/ 79 h 99"/>
                <a:gd name="T54" fmla="*/ 18 w 78"/>
                <a:gd name="T55" fmla="*/ 75 h 99"/>
                <a:gd name="T56" fmla="*/ 20 w 78"/>
                <a:gd name="T57" fmla="*/ 70 h 99"/>
                <a:gd name="T58" fmla="*/ 20 w 78"/>
                <a:gd name="T59" fmla="*/ 31 h 99"/>
                <a:gd name="T60" fmla="*/ 20 w 78"/>
                <a:gd name="T61" fmla="*/ 22 h 99"/>
                <a:gd name="T62" fmla="*/ 23 w 78"/>
                <a:gd name="T63" fmla="*/ 20 h 99"/>
                <a:gd name="T64" fmla="*/ 30 w 78"/>
                <a:gd name="T65" fmla="*/ 27 h 99"/>
                <a:gd name="T66" fmla="*/ 35 w 78"/>
                <a:gd name="T67" fmla="*/ 50 h 99"/>
                <a:gd name="T68" fmla="*/ 30 w 78"/>
                <a:gd name="T69" fmla="*/ 73 h 99"/>
                <a:gd name="T70" fmla="*/ 24 w 78"/>
                <a:gd name="T71" fmla="*/ 80 h 99"/>
                <a:gd name="T72" fmla="*/ 21 w 78"/>
                <a:gd name="T73" fmla="*/ 79 h 99"/>
                <a:gd name="T74" fmla="*/ 21 w 78"/>
                <a:gd name="T75" fmla="*/ 79 h 99"/>
                <a:gd name="T76" fmla="*/ 3 w 78"/>
                <a:gd name="T77" fmla="*/ 70 h 99"/>
                <a:gd name="T78" fmla="*/ 0 w 78"/>
                <a:gd name="T79" fmla="*/ 66 h 99"/>
                <a:gd name="T80" fmla="*/ 2 w 78"/>
                <a:gd name="T81" fmla="*/ 61 h 99"/>
                <a:gd name="T82" fmla="*/ 5 w 78"/>
                <a:gd name="T83" fmla="*/ 50 h 99"/>
                <a:gd name="T84" fmla="*/ 2 w 78"/>
                <a:gd name="T85" fmla="*/ 39 h 99"/>
                <a:gd name="T86" fmla="*/ 0 w 78"/>
                <a:gd name="T87" fmla="*/ 36 h 99"/>
                <a:gd name="T88" fmla="*/ 4 w 78"/>
                <a:gd name="T89" fmla="*/ 30 h 99"/>
                <a:gd name="T90" fmla="*/ 11 w 78"/>
                <a:gd name="T91" fmla="*/ 34 h 99"/>
                <a:gd name="T92" fmla="*/ 11 w 78"/>
                <a:gd name="T93" fmla="*/ 66 h 99"/>
                <a:gd name="T94" fmla="*/ 3 w 78"/>
                <a:gd name="T95" fmla="*/ 70 h 99"/>
                <a:gd name="T96" fmla="*/ 3 w 78"/>
                <a:gd name="T97" fmla="*/ 7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 h="99">
                  <a:moveTo>
                    <a:pt x="60" y="99"/>
                  </a:moveTo>
                  <a:cubicBezTo>
                    <a:pt x="58" y="99"/>
                    <a:pt x="57" y="97"/>
                    <a:pt x="56" y="95"/>
                  </a:cubicBezTo>
                  <a:cubicBezTo>
                    <a:pt x="56" y="94"/>
                    <a:pt x="56" y="93"/>
                    <a:pt x="58" y="90"/>
                  </a:cubicBezTo>
                  <a:cubicBezTo>
                    <a:pt x="65" y="77"/>
                    <a:pt x="68" y="65"/>
                    <a:pt x="68" y="50"/>
                  </a:cubicBezTo>
                  <a:cubicBezTo>
                    <a:pt x="68" y="36"/>
                    <a:pt x="65" y="25"/>
                    <a:pt x="59" y="11"/>
                  </a:cubicBezTo>
                  <a:cubicBezTo>
                    <a:pt x="57" y="9"/>
                    <a:pt x="56" y="6"/>
                    <a:pt x="56" y="6"/>
                  </a:cubicBezTo>
                  <a:cubicBezTo>
                    <a:pt x="56" y="4"/>
                    <a:pt x="57" y="2"/>
                    <a:pt x="59" y="1"/>
                  </a:cubicBezTo>
                  <a:cubicBezTo>
                    <a:pt x="60" y="0"/>
                    <a:pt x="63" y="0"/>
                    <a:pt x="65" y="2"/>
                  </a:cubicBezTo>
                  <a:cubicBezTo>
                    <a:pt x="65" y="2"/>
                    <a:pt x="67" y="5"/>
                    <a:pt x="68" y="7"/>
                  </a:cubicBezTo>
                  <a:cubicBezTo>
                    <a:pt x="72" y="16"/>
                    <a:pt x="76" y="26"/>
                    <a:pt x="77" y="36"/>
                  </a:cubicBezTo>
                  <a:cubicBezTo>
                    <a:pt x="78" y="43"/>
                    <a:pt x="78" y="55"/>
                    <a:pt x="78" y="61"/>
                  </a:cubicBezTo>
                  <a:cubicBezTo>
                    <a:pt x="76" y="72"/>
                    <a:pt x="73" y="82"/>
                    <a:pt x="69" y="91"/>
                  </a:cubicBezTo>
                  <a:cubicBezTo>
                    <a:pt x="66" y="97"/>
                    <a:pt x="64" y="99"/>
                    <a:pt x="63" y="99"/>
                  </a:cubicBezTo>
                  <a:cubicBezTo>
                    <a:pt x="62" y="99"/>
                    <a:pt x="62" y="99"/>
                    <a:pt x="62" y="99"/>
                  </a:cubicBezTo>
                  <a:cubicBezTo>
                    <a:pt x="61" y="99"/>
                    <a:pt x="61" y="99"/>
                    <a:pt x="60" y="99"/>
                  </a:cubicBezTo>
                  <a:cubicBezTo>
                    <a:pt x="60" y="99"/>
                    <a:pt x="60" y="99"/>
                    <a:pt x="60" y="99"/>
                  </a:cubicBezTo>
                  <a:close/>
                  <a:moveTo>
                    <a:pt x="41" y="89"/>
                  </a:moveTo>
                  <a:cubicBezTo>
                    <a:pt x="38" y="89"/>
                    <a:pt x="37" y="86"/>
                    <a:pt x="37" y="83"/>
                  </a:cubicBezTo>
                  <a:cubicBezTo>
                    <a:pt x="38" y="83"/>
                    <a:pt x="39" y="80"/>
                    <a:pt x="40" y="78"/>
                  </a:cubicBezTo>
                  <a:cubicBezTo>
                    <a:pt x="45" y="67"/>
                    <a:pt x="47" y="56"/>
                    <a:pt x="46" y="45"/>
                  </a:cubicBezTo>
                  <a:cubicBezTo>
                    <a:pt x="45" y="36"/>
                    <a:pt x="44" y="30"/>
                    <a:pt x="40" y="21"/>
                  </a:cubicBezTo>
                  <a:cubicBezTo>
                    <a:pt x="37" y="16"/>
                    <a:pt x="37" y="15"/>
                    <a:pt x="38" y="12"/>
                  </a:cubicBezTo>
                  <a:cubicBezTo>
                    <a:pt x="40" y="10"/>
                    <a:pt x="44" y="10"/>
                    <a:pt x="46" y="12"/>
                  </a:cubicBezTo>
                  <a:cubicBezTo>
                    <a:pt x="47" y="13"/>
                    <a:pt x="51" y="22"/>
                    <a:pt x="53" y="27"/>
                  </a:cubicBezTo>
                  <a:cubicBezTo>
                    <a:pt x="59" y="44"/>
                    <a:pt x="58" y="62"/>
                    <a:pt x="51" y="79"/>
                  </a:cubicBezTo>
                  <a:cubicBezTo>
                    <a:pt x="47" y="88"/>
                    <a:pt x="45" y="90"/>
                    <a:pt x="41" y="89"/>
                  </a:cubicBezTo>
                  <a:close/>
                  <a:moveTo>
                    <a:pt x="21" y="79"/>
                  </a:moveTo>
                  <a:cubicBezTo>
                    <a:pt x="20" y="79"/>
                    <a:pt x="19" y="77"/>
                    <a:pt x="18" y="75"/>
                  </a:cubicBezTo>
                  <a:cubicBezTo>
                    <a:pt x="18" y="74"/>
                    <a:pt x="18" y="73"/>
                    <a:pt x="20" y="70"/>
                  </a:cubicBezTo>
                  <a:cubicBezTo>
                    <a:pt x="27" y="56"/>
                    <a:pt x="27" y="44"/>
                    <a:pt x="20" y="31"/>
                  </a:cubicBezTo>
                  <a:cubicBezTo>
                    <a:pt x="18" y="25"/>
                    <a:pt x="18" y="24"/>
                    <a:pt x="20" y="22"/>
                  </a:cubicBezTo>
                  <a:cubicBezTo>
                    <a:pt x="21" y="21"/>
                    <a:pt x="22" y="20"/>
                    <a:pt x="23" y="20"/>
                  </a:cubicBezTo>
                  <a:cubicBezTo>
                    <a:pt x="26" y="20"/>
                    <a:pt x="27" y="22"/>
                    <a:pt x="30" y="27"/>
                  </a:cubicBezTo>
                  <a:cubicBezTo>
                    <a:pt x="34" y="35"/>
                    <a:pt x="35" y="41"/>
                    <a:pt x="35" y="50"/>
                  </a:cubicBezTo>
                  <a:cubicBezTo>
                    <a:pt x="35" y="59"/>
                    <a:pt x="34" y="65"/>
                    <a:pt x="30" y="73"/>
                  </a:cubicBezTo>
                  <a:cubicBezTo>
                    <a:pt x="27" y="78"/>
                    <a:pt x="26" y="79"/>
                    <a:pt x="24" y="80"/>
                  </a:cubicBezTo>
                  <a:cubicBezTo>
                    <a:pt x="23" y="80"/>
                    <a:pt x="22" y="80"/>
                    <a:pt x="21" y="79"/>
                  </a:cubicBezTo>
                  <a:cubicBezTo>
                    <a:pt x="21" y="79"/>
                    <a:pt x="21" y="79"/>
                    <a:pt x="21" y="79"/>
                  </a:cubicBezTo>
                  <a:close/>
                  <a:moveTo>
                    <a:pt x="3" y="70"/>
                  </a:moveTo>
                  <a:cubicBezTo>
                    <a:pt x="2" y="69"/>
                    <a:pt x="1" y="68"/>
                    <a:pt x="0" y="66"/>
                  </a:cubicBezTo>
                  <a:cubicBezTo>
                    <a:pt x="0" y="65"/>
                    <a:pt x="0" y="64"/>
                    <a:pt x="2" y="61"/>
                  </a:cubicBezTo>
                  <a:cubicBezTo>
                    <a:pt x="4" y="57"/>
                    <a:pt x="5" y="55"/>
                    <a:pt x="5" y="50"/>
                  </a:cubicBezTo>
                  <a:cubicBezTo>
                    <a:pt x="5" y="45"/>
                    <a:pt x="4" y="43"/>
                    <a:pt x="2" y="39"/>
                  </a:cubicBezTo>
                  <a:cubicBezTo>
                    <a:pt x="1" y="38"/>
                    <a:pt x="0" y="36"/>
                    <a:pt x="0" y="36"/>
                  </a:cubicBezTo>
                  <a:cubicBezTo>
                    <a:pt x="0" y="33"/>
                    <a:pt x="2" y="30"/>
                    <a:pt x="4" y="30"/>
                  </a:cubicBezTo>
                  <a:cubicBezTo>
                    <a:pt x="7" y="29"/>
                    <a:pt x="8" y="30"/>
                    <a:pt x="11" y="34"/>
                  </a:cubicBezTo>
                  <a:cubicBezTo>
                    <a:pt x="17" y="43"/>
                    <a:pt x="17" y="57"/>
                    <a:pt x="11" y="66"/>
                  </a:cubicBezTo>
                  <a:cubicBezTo>
                    <a:pt x="8" y="70"/>
                    <a:pt x="6" y="71"/>
                    <a:pt x="3" y="70"/>
                  </a:cubicBezTo>
                  <a:cubicBezTo>
                    <a:pt x="3" y="70"/>
                    <a:pt x="3" y="70"/>
                    <a:pt x="3" y="7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a:p>
          </p:txBody>
        </p:sp>
      </p:grpSp>
      <p:pic>
        <p:nvPicPr>
          <p:cNvPr id="79" name="Picture 24" descr="Image result for entrust datacard logo">
            <a:extLst>
              <a:ext uri="{FF2B5EF4-FFF2-40B4-BE49-F238E27FC236}">
                <a16:creationId xmlns="" xmlns:a16="http://schemas.microsoft.com/office/drawing/2014/main" id="{2955CD06-FE8B-4E89-872D-2FB36CF359B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76312" y="5675943"/>
            <a:ext cx="998856" cy="129851"/>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4">
            <a:extLst>
              <a:ext uri="{FF2B5EF4-FFF2-40B4-BE49-F238E27FC236}">
                <a16:creationId xmlns="" xmlns:a16="http://schemas.microsoft.com/office/drawing/2014/main" id="{EC4670A6-63D0-4734-8E3E-29C376C88B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99086" y="5308093"/>
            <a:ext cx="809701" cy="141626"/>
          </a:xfrm>
          <a:prstGeom prst="rect">
            <a:avLst/>
          </a:prstGeom>
        </p:spPr>
      </p:pic>
      <p:pic>
        <p:nvPicPr>
          <p:cNvPr id="81" name="Picture 4" descr="http://www.exceet.ch/fileadmin/exceet/pics/exceet-logo.png">
            <a:extLst>
              <a:ext uri="{FF2B5EF4-FFF2-40B4-BE49-F238E27FC236}">
                <a16:creationId xmlns="" xmlns:a16="http://schemas.microsoft.com/office/drawing/2014/main" id="{98905F57-C59A-494D-8627-1EA44B6BDD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6312" y="4700553"/>
            <a:ext cx="969976" cy="37087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http://www.internet-sicherheit.de/fileadmin/images/Firmenlogos/cryptovision-logo.jpg">
            <a:extLst>
              <a:ext uri="{FF2B5EF4-FFF2-40B4-BE49-F238E27FC236}">
                <a16:creationId xmlns="" xmlns:a16="http://schemas.microsoft.com/office/drawing/2014/main" id="{B2F87B48-FED2-4E60-A92B-349EFCE6FC9D}"/>
              </a:ext>
            </a:extLst>
          </p:cNvP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892376" y="5659273"/>
            <a:ext cx="787491" cy="219084"/>
          </a:xfrm>
          <a:prstGeom prst="rect">
            <a:avLst/>
          </a:prstGeom>
          <a:noFill/>
        </p:spPr>
      </p:pic>
      <p:pic>
        <p:nvPicPr>
          <p:cNvPr id="84" name="Grafik 1">
            <a:extLst>
              <a:ext uri="{FF2B5EF4-FFF2-40B4-BE49-F238E27FC236}">
                <a16:creationId xmlns="" xmlns:a16="http://schemas.microsoft.com/office/drawing/2014/main" id="{8AEC611D-345E-45C4-9865-4244D0B3E46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70334" y="5931831"/>
            <a:ext cx="1089387" cy="189511"/>
          </a:xfrm>
          <a:prstGeom prst="rect">
            <a:avLst/>
          </a:prstGeom>
        </p:spPr>
      </p:pic>
      <p:pic>
        <p:nvPicPr>
          <p:cNvPr id="85" name="Picture 87" descr="Irdeto Access BV_Jan08.wmf">
            <a:extLst>
              <a:ext uri="{FF2B5EF4-FFF2-40B4-BE49-F238E27FC236}">
                <a16:creationId xmlns="" xmlns:a16="http://schemas.microsoft.com/office/drawing/2014/main" id="{D5EBC590-6374-402B-8FA6-A92B09A5F964}"/>
              </a:ext>
            </a:extLst>
          </p:cNvPr>
          <p:cNvPicPr>
            <a:picLocks/>
          </p:cNvPicPr>
          <p:nvPr/>
        </p:nvPicPr>
        <p:blipFill>
          <a:blip r:embed="rId9" cstate="print"/>
          <a:stretch>
            <a:fillRect/>
          </a:stretch>
        </p:blipFill>
        <p:spPr>
          <a:xfrm>
            <a:off x="1584909" y="5119751"/>
            <a:ext cx="743254" cy="243202"/>
          </a:xfrm>
          <a:prstGeom prst="rect">
            <a:avLst/>
          </a:prstGeom>
        </p:spPr>
      </p:pic>
      <p:pic>
        <p:nvPicPr>
          <p:cNvPr id="86" name="Picture 88" descr="Atos Origin GmbH_Jul11.wmf">
            <a:extLst>
              <a:ext uri="{FF2B5EF4-FFF2-40B4-BE49-F238E27FC236}">
                <a16:creationId xmlns="" xmlns:a16="http://schemas.microsoft.com/office/drawing/2014/main" id="{ADC8E8B2-0132-49BC-B059-7137B4B06737}"/>
              </a:ext>
            </a:extLst>
          </p:cNvPr>
          <p:cNvPicPr>
            <a:picLocks/>
          </p:cNvPicPr>
          <p:nvPr/>
        </p:nvPicPr>
        <p:blipFill>
          <a:blip r:embed="rId10" cstate="print"/>
          <a:stretch>
            <a:fillRect/>
          </a:stretch>
        </p:blipFill>
        <p:spPr>
          <a:xfrm>
            <a:off x="2892779" y="4892391"/>
            <a:ext cx="563896" cy="194391"/>
          </a:xfrm>
          <a:prstGeom prst="rect">
            <a:avLst/>
          </a:prstGeom>
        </p:spPr>
      </p:pic>
      <p:pic>
        <p:nvPicPr>
          <p:cNvPr id="87" name="Picture 23" descr="Q:\TS\HSM\CryptoServer\Sales\Partner Programm\Marketing\CompanyLogos\web_logo-PrimeKey-smaller.jpg">
            <a:extLst>
              <a:ext uri="{FF2B5EF4-FFF2-40B4-BE49-F238E27FC236}">
                <a16:creationId xmlns="" xmlns:a16="http://schemas.microsoft.com/office/drawing/2014/main" id="{FADC28AB-5986-475D-BC06-84477F3C544E}"/>
              </a:ext>
            </a:extLst>
          </p:cNvPr>
          <p:cNvPicPr>
            <a:picLocks noChangeAspect="1" noChangeArrowheads="1"/>
          </p:cNvPicPr>
          <p:nvPr/>
        </p:nvPicPr>
        <p:blipFill>
          <a:blip r:embed="rId11" cstate="print"/>
          <a:srcRect/>
          <a:stretch>
            <a:fillRect/>
          </a:stretch>
        </p:blipFill>
        <p:spPr bwMode="auto">
          <a:xfrm>
            <a:off x="1570385" y="5848928"/>
            <a:ext cx="916851" cy="354527"/>
          </a:xfrm>
          <a:prstGeom prst="rect">
            <a:avLst/>
          </a:prstGeom>
          <a:noFill/>
        </p:spPr>
      </p:pic>
      <p:pic>
        <p:nvPicPr>
          <p:cNvPr id="88" name="Picture 28">
            <a:extLst>
              <a:ext uri="{FF2B5EF4-FFF2-40B4-BE49-F238E27FC236}">
                <a16:creationId xmlns="" xmlns:a16="http://schemas.microsoft.com/office/drawing/2014/main" id="{D1DE9722-5E6B-4204-9897-945FF65313EA}"/>
              </a:ext>
            </a:extLst>
          </p:cNvPr>
          <p:cNvPicPr>
            <a:picLocks noChangeAspect="1" noChangeArrowheads="1"/>
          </p:cNvPicPr>
          <p:nvPr/>
        </p:nvPicPr>
        <p:blipFill>
          <a:blip r:embed="rId12" cstate="print"/>
          <a:srcRect/>
          <a:stretch>
            <a:fillRect/>
          </a:stretch>
        </p:blipFill>
        <p:spPr bwMode="auto">
          <a:xfrm>
            <a:off x="2728102" y="4558358"/>
            <a:ext cx="967262" cy="206611"/>
          </a:xfrm>
          <a:prstGeom prst="rect">
            <a:avLst/>
          </a:prstGeom>
          <a:noFill/>
          <a:ln w="9525">
            <a:noFill/>
            <a:miter lim="800000"/>
            <a:headEnd/>
            <a:tailEnd/>
          </a:ln>
        </p:spPr>
      </p:pic>
      <p:pic>
        <p:nvPicPr>
          <p:cNvPr id="89" name="Grafik 1">
            <a:extLst>
              <a:ext uri="{FF2B5EF4-FFF2-40B4-BE49-F238E27FC236}">
                <a16:creationId xmlns="" xmlns:a16="http://schemas.microsoft.com/office/drawing/2014/main" id="{3ECBEE1B-09C7-4110-B257-69DCFC2475B6}"/>
              </a:ext>
            </a:extLst>
          </p:cNvPr>
          <p:cNvPicPr>
            <a:picLocks noChangeAspect="1"/>
          </p:cNvPicPr>
          <p:nvPr/>
        </p:nvPicPr>
        <p:blipFill rotWithShape="1">
          <a:blip r:embed="rId13"/>
          <a:srcRect l="15235" t="34667" r="14453" b="34248"/>
          <a:stretch/>
        </p:blipFill>
        <p:spPr>
          <a:xfrm>
            <a:off x="2491209" y="5213466"/>
            <a:ext cx="729432" cy="137780"/>
          </a:xfrm>
          <a:prstGeom prst="rect">
            <a:avLst/>
          </a:prstGeom>
          <a:solidFill>
            <a:schemeClr val="accent1">
              <a:lumMod val="20000"/>
              <a:lumOff val="80000"/>
            </a:schemeClr>
          </a:solidFill>
        </p:spPr>
      </p:pic>
      <p:pic>
        <p:nvPicPr>
          <p:cNvPr id="90" name="Picture 9" descr="Toll Collect_Mar05.wmf">
            <a:extLst>
              <a:ext uri="{FF2B5EF4-FFF2-40B4-BE49-F238E27FC236}">
                <a16:creationId xmlns="" xmlns:a16="http://schemas.microsoft.com/office/drawing/2014/main" id="{4B7C7E27-5EE9-476F-BE33-18C58D1CFF68}"/>
              </a:ext>
            </a:extLst>
          </p:cNvPr>
          <p:cNvPicPr>
            <a:picLocks noChangeAspect="1"/>
          </p:cNvPicPr>
          <p:nvPr/>
        </p:nvPicPr>
        <p:blipFill>
          <a:blip r:embed="rId14" cstate="print"/>
          <a:stretch>
            <a:fillRect/>
          </a:stretch>
        </p:blipFill>
        <p:spPr>
          <a:xfrm>
            <a:off x="2966556" y="5228498"/>
            <a:ext cx="814010" cy="363602"/>
          </a:xfrm>
          <a:prstGeom prst="rect">
            <a:avLst/>
          </a:prstGeom>
        </p:spPr>
      </p:pic>
      <p:pic>
        <p:nvPicPr>
          <p:cNvPr id="91" name="Grafik 2">
            <a:extLst>
              <a:ext uri="{FF2B5EF4-FFF2-40B4-BE49-F238E27FC236}">
                <a16:creationId xmlns="" xmlns:a16="http://schemas.microsoft.com/office/drawing/2014/main" id="{C3D6046C-3BC1-4CF3-A5AC-26E829C0CB2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76312" y="4398190"/>
            <a:ext cx="969976" cy="279485"/>
          </a:xfrm>
          <a:prstGeom prst="rect">
            <a:avLst/>
          </a:prstGeom>
        </p:spPr>
      </p:pic>
      <p:pic>
        <p:nvPicPr>
          <p:cNvPr id="92" name="Picture 95">
            <a:extLst>
              <a:ext uri="{FF2B5EF4-FFF2-40B4-BE49-F238E27FC236}">
                <a16:creationId xmlns="" xmlns:a16="http://schemas.microsoft.com/office/drawing/2014/main" id="{EA67348B-DAA5-419D-A7CC-A92CE709A8E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957643" y="4174711"/>
            <a:ext cx="643864" cy="346629"/>
          </a:xfrm>
          <a:prstGeom prst="rect">
            <a:avLst/>
          </a:prstGeom>
        </p:spPr>
      </p:pic>
      <p:pic>
        <p:nvPicPr>
          <p:cNvPr id="94" name="Grafik 9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436918" y="4971144"/>
            <a:ext cx="1529627" cy="382407"/>
          </a:xfrm>
          <a:prstGeom prst="rect">
            <a:avLst/>
          </a:prstGeom>
        </p:spPr>
      </p:pic>
      <p:pic>
        <p:nvPicPr>
          <p:cNvPr id="95" name="Grafik 9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450487" y="5433014"/>
            <a:ext cx="1082879" cy="529707"/>
          </a:xfrm>
          <a:prstGeom prst="rect">
            <a:avLst/>
          </a:prstGeom>
        </p:spPr>
      </p:pic>
      <p:pic>
        <p:nvPicPr>
          <p:cNvPr id="97" name="Grafik 34">
            <a:extLst>
              <a:ext uri="{FF2B5EF4-FFF2-40B4-BE49-F238E27FC236}">
                <a16:creationId xmlns="" xmlns:a16="http://schemas.microsoft.com/office/drawing/2014/main" id="{B8CE1C6C-CECE-4A1E-9ED8-69FEE4B5CBDB}"/>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966545" y="5379116"/>
            <a:ext cx="612150" cy="322296"/>
          </a:xfrm>
          <a:prstGeom prst="rect">
            <a:avLst/>
          </a:prstGeom>
        </p:spPr>
      </p:pic>
      <p:pic>
        <p:nvPicPr>
          <p:cNvPr id="98" name="Grafik 36">
            <a:extLst>
              <a:ext uri="{FF2B5EF4-FFF2-40B4-BE49-F238E27FC236}">
                <a16:creationId xmlns="" xmlns:a16="http://schemas.microsoft.com/office/drawing/2014/main" id="{F9300DCA-D94D-43E6-B40D-92486078604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024394" y="4435479"/>
            <a:ext cx="983461" cy="213902"/>
          </a:xfrm>
          <a:prstGeom prst="rect">
            <a:avLst/>
          </a:prstGeom>
        </p:spPr>
      </p:pic>
      <p:pic>
        <p:nvPicPr>
          <p:cNvPr id="99" name="Grafik 37">
            <a:extLst>
              <a:ext uri="{FF2B5EF4-FFF2-40B4-BE49-F238E27FC236}">
                <a16:creationId xmlns="" xmlns:a16="http://schemas.microsoft.com/office/drawing/2014/main" id="{707E5247-0870-4FE4-8C0D-6C9C04514A25}"/>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447748" y="4158825"/>
            <a:ext cx="478730" cy="478730"/>
          </a:xfrm>
          <a:prstGeom prst="rect">
            <a:avLst/>
          </a:prstGeom>
        </p:spPr>
      </p:pic>
      <p:pic>
        <p:nvPicPr>
          <p:cNvPr id="100" name="Grafik 38">
            <a:extLst>
              <a:ext uri="{FF2B5EF4-FFF2-40B4-BE49-F238E27FC236}">
                <a16:creationId xmlns="" xmlns:a16="http://schemas.microsoft.com/office/drawing/2014/main" id="{A2EEBC3C-27C0-4208-9B7E-812C06EF076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47748" y="4757163"/>
            <a:ext cx="964984" cy="177556"/>
          </a:xfrm>
          <a:prstGeom prst="rect">
            <a:avLst/>
          </a:prstGeom>
        </p:spPr>
      </p:pic>
      <p:pic>
        <p:nvPicPr>
          <p:cNvPr id="101" name="Grafik 39">
            <a:extLst>
              <a:ext uri="{FF2B5EF4-FFF2-40B4-BE49-F238E27FC236}">
                <a16:creationId xmlns="" xmlns:a16="http://schemas.microsoft.com/office/drawing/2014/main" id="{BA2AABBF-6023-4A53-97DA-22A14149AEC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026516" y="4161996"/>
            <a:ext cx="597530" cy="396362"/>
          </a:xfrm>
          <a:prstGeom prst="rect">
            <a:avLst/>
          </a:prstGeom>
        </p:spPr>
      </p:pic>
      <p:pic>
        <p:nvPicPr>
          <p:cNvPr id="102" name="Grafik 14">
            <a:extLst>
              <a:ext uri="{FF2B5EF4-FFF2-40B4-BE49-F238E27FC236}">
                <a16:creationId xmlns="" xmlns:a16="http://schemas.microsoft.com/office/drawing/2014/main" id="{67FE7FD8-FBA6-4A0D-B9BA-1583A477D2AD}"/>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l="71400" t="-7543" r="-1652" b="-12473"/>
          <a:stretch/>
        </p:blipFill>
        <p:spPr>
          <a:xfrm>
            <a:off x="8087203" y="4849308"/>
            <a:ext cx="536033" cy="490137"/>
          </a:xfrm>
          <a:prstGeom prst="rect">
            <a:avLst/>
          </a:prstGeom>
        </p:spPr>
      </p:pic>
      <p:pic>
        <p:nvPicPr>
          <p:cNvPr id="105" name="Grafik 4">
            <a:extLst>
              <a:ext uri="{FF2B5EF4-FFF2-40B4-BE49-F238E27FC236}">
                <a16:creationId xmlns="" xmlns:a16="http://schemas.microsoft.com/office/drawing/2014/main" id="{6A7F759C-B9A8-42C3-AEBB-0889063277E6}"/>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973698" y="5554625"/>
            <a:ext cx="1621672" cy="202709"/>
          </a:xfrm>
          <a:prstGeom prst="rect">
            <a:avLst/>
          </a:prstGeom>
        </p:spPr>
      </p:pic>
      <p:pic>
        <p:nvPicPr>
          <p:cNvPr id="106" name="Grafik 6">
            <a:extLst>
              <a:ext uri="{FF2B5EF4-FFF2-40B4-BE49-F238E27FC236}">
                <a16:creationId xmlns="" xmlns:a16="http://schemas.microsoft.com/office/drawing/2014/main" id="{7138D676-595C-41DB-B0E6-47EE9BA7978E}"/>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6101" t="26481" r="6101" b="26481"/>
          <a:stretch/>
        </p:blipFill>
        <p:spPr>
          <a:xfrm>
            <a:off x="3994714" y="4857211"/>
            <a:ext cx="871963" cy="303650"/>
          </a:xfrm>
          <a:prstGeom prst="rect">
            <a:avLst/>
          </a:prstGeom>
        </p:spPr>
      </p:pic>
      <p:pic>
        <p:nvPicPr>
          <p:cNvPr id="107" name="Grafik 7">
            <a:extLst>
              <a:ext uri="{FF2B5EF4-FFF2-40B4-BE49-F238E27FC236}">
                <a16:creationId xmlns="" xmlns:a16="http://schemas.microsoft.com/office/drawing/2014/main" id="{39F295A0-2214-4AA0-A7D5-D088AB76CCB8}"/>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5400037" y="5781523"/>
            <a:ext cx="718602" cy="300616"/>
          </a:xfrm>
          <a:prstGeom prst="rect">
            <a:avLst/>
          </a:prstGeom>
        </p:spPr>
      </p:pic>
      <p:pic>
        <p:nvPicPr>
          <p:cNvPr id="108" name="Grafik 8">
            <a:extLst>
              <a:ext uri="{FF2B5EF4-FFF2-40B4-BE49-F238E27FC236}">
                <a16:creationId xmlns="" xmlns:a16="http://schemas.microsoft.com/office/drawing/2014/main" id="{2400CB9A-7989-4C76-812E-D84B3A787359}"/>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t="-1" r="78179" b="-47791"/>
          <a:stretch/>
        </p:blipFill>
        <p:spPr>
          <a:xfrm>
            <a:off x="5696590" y="4222840"/>
            <a:ext cx="414444" cy="660070"/>
          </a:xfrm>
          <a:prstGeom prst="rect">
            <a:avLst/>
          </a:prstGeom>
        </p:spPr>
      </p:pic>
      <p:pic>
        <p:nvPicPr>
          <p:cNvPr id="109" name="Grafik 9">
            <a:extLst>
              <a:ext uri="{FF2B5EF4-FFF2-40B4-BE49-F238E27FC236}">
                <a16:creationId xmlns="" xmlns:a16="http://schemas.microsoft.com/office/drawing/2014/main" id="{AAA9BD07-F416-49CA-8A50-9AEEA6FB2CE2}"/>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130913" y="5028430"/>
            <a:ext cx="568900" cy="287863"/>
          </a:xfrm>
          <a:prstGeom prst="rect">
            <a:avLst/>
          </a:prstGeom>
        </p:spPr>
      </p:pic>
      <p:pic>
        <p:nvPicPr>
          <p:cNvPr id="110" name="Grafik 13">
            <a:extLst>
              <a:ext uri="{FF2B5EF4-FFF2-40B4-BE49-F238E27FC236}">
                <a16:creationId xmlns="" xmlns:a16="http://schemas.microsoft.com/office/drawing/2014/main" id="{6C386EEB-B0DA-4BF0-8005-A0C635CE5D2E}"/>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887738" y="4206434"/>
            <a:ext cx="587531" cy="454357"/>
          </a:xfrm>
          <a:prstGeom prst="rect">
            <a:avLst/>
          </a:prstGeom>
        </p:spPr>
      </p:pic>
      <p:pic>
        <p:nvPicPr>
          <p:cNvPr id="112" name="Grafik 19">
            <a:extLst>
              <a:ext uri="{FF2B5EF4-FFF2-40B4-BE49-F238E27FC236}">
                <a16:creationId xmlns="" xmlns:a16="http://schemas.microsoft.com/office/drawing/2014/main" id="{69DEE217-5705-451A-82C0-00F8FEAF3777}"/>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045866" y="5785249"/>
            <a:ext cx="820811" cy="177472"/>
          </a:xfrm>
          <a:prstGeom prst="rect">
            <a:avLst/>
          </a:prstGeom>
        </p:spPr>
      </p:pic>
      <p:pic>
        <p:nvPicPr>
          <p:cNvPr id="115" name="Grafik 11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78306" y="4156275"/>
            <a:ext cx="967982" cy="161169"/>
          </a:xfrm>
          <a:prstGeom prst="rect">
            <a:avLst/>
          </a:prstGeom>
        </p:spPr>
      </p:pic>
      <p:pic>
        <p:nvPicPr>
          <p:cNvPr id="119" name="Grafik 11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042493" y="4182534"/>
            <a:ext cx="644040" cy="502353"/>
          </a:xfrm>
          <a:prstGeom prst="rect">
            <a:avLst/>
          </a:prstGeom>
        </p:spPr>
      </p:pic>
      <p:pic>
        <p:nvPicPr>
          <p:cNvPr id="123" name="Grafik 122"/>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7118047" y="5909200"/>
            <a:ext cx="1460647" cy="243198"/>
          </a:xfrm>
          <a:prstGeom prst="rect">
            <a:avLst/>
          </a:prstGeom>
        </p:spPr>
      </p:pic>
      <p:pic>
        <p:nvPicPr>
          <p:cNvPr id="126" name="Grafik 125"/>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9588168" y="4204878"/>
            <a:ext cx="1319653" cy="223682"/>
          </a:xfrm>
          <a:prstGeom prst="rect">
            <a:avLst/>
          </a:prstGeom>
        </p:spPr>
      </p:pic>
      <p:pic>
        <p:nvPicPr>
          <p:cNvPr id="127" name="Picture 55" descr="Telefonaktiebolaget LM Ericsson_centered_Aug10.wmf"/>
          <p:cNvPicPr>
            <a:picLocks/>
          </p:cNvPicPr>
          <p:nvPr/>
        </p:nvPicPr>
        <p:blipFill>
          <a:blip r:embed="rId36" cstate="print"/>
          <a:stretch>
            <a:fillRect/>
          </a:stretch>
        </p:blipFill>
        <p:spPr>
          <a:xfrm>
            <a:off x="8911988" y="4240314"/>
            <a:ext cx="468783" cy="410342"/>
          </a:xfrm>
          <a:prstGeom prst="rect">
            <a:avLst/>
          </a:prstGeom>
        </p:spPr>
      </p:pic>
      <p:pic>
        <p:nvPicPr>
          <p:cNvPr id="128" name="Picture 21" descr="Huawei Technologies Co Ltd_Nov07.wmf"/>
          <p:cNvPicPr>
            <a:picLocks/>
          </p:cNvPicPr>
          <p:nvPr/>
        </p:nvPicPr>
        <p:blipFill>
          <a:blip r:embed="rId37" cstate="print"/>
          <a:stretch>
            <a:fillRect/>
          </a:stretch>
        </p:blipFill>
        <p:spPr>
          <a:xfrm>
            <a:off x="9553579" y="4834858"/>
            <a:ext cx="327379" cy="350615"/>
          </a:xfrm>
          <a:prstGeom prst="rect">
            <a:avLst/>
          </a:prstGeom>
        </p:spPr>
      </p:pic>
      <p:pic>
        <p:nvPicPr>
          <p:cNvPr id="129" name="Grafik 10"/>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876738" y="5684087"/>
            <a:ext cx="371487" cy="379509"/>
          </a:xfrm>
          <a:prstGeom prst="rect">
            <a:avLst/>
          </a:prstGeom>
        </p:spPr>
      </p:pic>
      <p:pic>
        <p:nvPicPr>
          <p:cNvPr id="130" name="Picture 4" descr="Deutsche Telekom AG_right_May06.wmf"/>
          <p:cNvPicPr>
            <a:picLocks noChangeAspect="1"/>
          </p:cNvPicPr>
          <p:nvPr/>
        </p:nvPicPr>
        <p:blipFill>
          <a:blip r:embed="rId39" cstate="print"/>
          <a:stretch>
            <a:fillRect/>
          </a:stretch>
        </p:blipFill>
        <p:spPr>
          <a:xfrm>
            <a:off x="8969442" y="5290317"/>
            <a:ext cx="859486" cy="218360"/>
          </a:xfrm>
          <a:prstGeom prst="rect">
            <a:avLst/>
          </a:prstGeom>
        </p:spPr>
      </p:pic>
      <p:pic>
        <p:nvPicPr>
          <p:cNvPr id="131" name="Picture 74"/>
          <p:cNvPicPr>
            <a:picLocks noChangeAspect="1"/>
          </p:cNvPicPr>
          <p:nvPr/>
        </p:nvPicPr>
        <p:blipFill>
          <a:blip r:embed="rId40"/>
          <a:stretch>
            <a:fillRect/>
          </a:stretch>
        </p:blipFill>
        <p:spPr>
          <a:xfrm>
            <a:off x="9954566" y="5332476"/>
            <a:ext cx="1055905" cy="238893"/>
          </a:xfrm>
          <a:prstGeom prst="rect">
            <a:avLst/>
          </a:prstGeom>
        </p:spPr>
      </p:pic>
      <p:pic>
        <p:nvPicPr>
          <p:cNvPr id="132" name="Picture 17" descr="Vodafone_Jul09.wmf"/>
          <p:cNvPicPr>
            <a:picLocks noChangeAspect="1"/>
          </p:cNvPicPr>
          <p:nvPr/>
        </p:nvPicPr>
        <p:blipFill>
          <a:blip r:embed="rId41" cstate="print"/>
          <a:stretch>
            <a:fillRect/>
          </a:stretch>
        </p:blipFill>
        <p:spPr>
          <a:xfrm>
            <a:off x="9384715" y="5679802"/>
            <a:ext cx="493852" cy="364799"/>
          </a:xfrm>
          <a:prstGeom prst="rect">
            <a:avLst/>
          </a:prstGeom>
        </p:spPr>
      </p:pic>
      <p:pic>
        <p:nvPicPr>
          <p:cNvPr id="133" name="Picture 76"/>
          <p:cNvPicPr>
            <a:picLocks noChangeAspect="1"/>
          </p:cNvPicPr>
          <p:nvPr/>
        </p:nvPicPr>
        <p:blipFill>
          <a:blip r:embed="rId42"/>
          <a:stretch>
            <a:fillRect/>
          </a:stretch>
        </p:blipFill>
        <p:spPr>
          <a:xfrm>
            <a:off x="10323411" y="5623437"/>
            <a:ext cx="784089" cy="217372"/>
          </a:xfrm>
          <a:prstGeom prst="rect">
            <a:avLst/>
          </a:prstGeom>
        </p:spPr>
      </p:pic>
      <p:pic>
        <p:nvPicPr>
          <p:cNvPr id="134" name="Picture 51" descr="O2 Limited_horizontal_Oct04.wmf"/>
          <p:cNvPicPr>
            <a:picLocks/>
          </p:cNvPicPr>
          <p:nvPr/>
        </p:nvPicPr>
        <p:blipFill>
          <a:blip r:embed="rId43" cstate="print"/>
          <a:stretch>
            <a:fillRect/>
          </a:stretch>
        </p:blipFill>
        <p:spPr>
          <a:xfrm>
            <a:off x="10013101" y="5814693"/>
            <a:ext cx="388042" cy="379416"/>
          </a:xfrm>
          <a:prstGeom prst="rect">
            <a:avLst/>
          </a:prstGeom>
        </p:spPr>
      </p:pic>
      <p:pic>
        <p:nvPicPr>
          <p:cNvPr id="135" name="Picture 78"/>
          <p:cNvPicPr>
            <a:picLocks noChangeAspect="1"/>
          </p:cNvPicPr>
          <p:nvPr/>
        </p:nvPicPr>
        <p:blipFill rotWithShape="1">
          <a:blip r:embed="rId44"/>
          <a:srcRect l="12506" t="1" b="18273"/>
          <a:stretch/>
        </p:blipFill>
        <p:spPr>
          <a:xfrm>
            <a:off x="10277137" y="4731396"/>
            <a:ext cx="713336" cy="241368"/>
          </a:xfrm>
          <a:prstGeom prst="rect">
            <a:avLst/>
          </a:prstGeom>
        </p:spPr>
      </p:pic>
      <p:pic>
        <p:nvPicPr>
          <p:cNvPr id="136" name="Picture 16" descr="Cisco Systems, Inc_Oct06.wmf"/>
          <p:cNvPicPr>
            <a:picLocks/>
          </p:cNvPicPr>
          <p:nvPr/>
        </p:nvPicPr>
        <p:blipFill>
          <a:blip r:embed="rId45" cstate="print"/>
          <a:stretch>
            <a:fillRect/>
          </a:stretch>
        </p:blipFill>
        <p:spPr>
          <a:xfrm>
            <a:off x="8888237" y="4831995"/>
            <a:ext cx="510948" cy="275260"/>
          </a:xfrm>
          <a:prstGeom prst="rect">
            <a:avLst/>
          </a:prstGeom>
        </p:spPr>
      </p:pic>
      <p:pic>
        <p:nvPicPr>
          <p:cNvPr id="137" name="Grafik 35"/>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10187622" y="5070059"/>
            <a:ext cx="854374" cy="222138"/>
          </a:xfrm>
          <a:prstGeom prst="rect">
            <a:avLst/>
          </a:prstGeom>
        </p:spPr>
      </p:pic>
      <p:pic>
        <p:nvPicPr>
          <p:cNvPr id="138" name="Picture 58" descr="Motorola Inc_left_reversed symbol_Nov03.wmf"/>
          <p:cNvPicPr>
            <a:picLocks/>
          </p:cNvPicPr>
          <p:nvPr/>
        </p:nvPicPr>
        <p:blipFill>
          <a:blip r:embed="rId47" cstate="print"/>
          <a:stretch>
            <a:fillRect/>
          </a:stretch>
        </p:blipFill>
        <p:spPr>
          <a:xfrm>
            <a:off x="9813897" y="4529629"/>
            <a:ext cx="1241240" cy="216304"/>
          </a:xfrm>
          <a:prstGeom prst="rect">
            <a:avLst/>
          </a:prstGeom>
        </p:spPr>
      </p:pic>
      <p:sp>
        <p:nvSpPr>
          <p:cNvPr id="72" name="Rechteck 71"/>
          <p:cNvSpPr/>
          <p:nvPr/>
        </p:nvSpPr>
        <p:spPr>
          <a:xfrm>
            <a:off x="1508865" y="2778005"/>
            <a:ext cx="7197122" cy="29532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200" b="1" dirty="0"/>
              <a:t>Information Security</a:t>
            </a:r>
            <a:endParaRPr lang="de-DE" sz="1200" dirty="0"/>
          </a:p>
        </p:txBody>
      </p:sp>
      <p:sp>
        <p:nvSpPr>
          <p:cNvPr id="75" name="Rechteck 74"/>
          <p:cNvSpPr/>
          <p:nvPr/>
        </p:nvSpPr>
        <p:spPr>
          <a:xfrm>
            <a:off x="8794550" y="2778005"/>
            <a:ext cx="2340000" cy="295327"/>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200" b="1" dirty="0"/>
              <a:t>Telecom Compliance Solutions</a:t>
            </a:r>
            <a:endParaRPr lang="de-DE" sz="1200" dirty="0"/>
          </a:p>
        </p:txBody>
      </p:sp>
      <p:pic>
        <p:nvPicPr>
          <p:cNvPr id="6" name="Picture 5">
            <a:extLst>
              <a:ext uri="{FF2B5EF4-FFF2-40B4-BE49-F238E27FC236}">
                <a16:creationId xmlns="" xmlns:a16="http://schemas.microsoft.com/office/drawing/2014/main" id="{7FD58F0F-3E23-4F78-A62E-15F9B3B15112}"/>
              </a:ext>
            </a:extLst>
          </p:cNvPr>
          <p:cNvPicPr>
            <a:picLocks noChangeAspect="1"/>
          </p:cNvPicPr>
          <p:nvPr/>
        </p:nvPicPr>
        <p:blipFill>
          <a:blip r:embed="rId48"/>
          <a:stretch>
            <a:fillRect/>
          </a:stretch>
        </p:blipFill>
        <p:spPr>
          <a:xfrm>
            <a:off x="5366240" y="4751249"/>
            <a:ext cx="715282" cy="289093"/>
          </a:xfrm>
          <a:prstGeom prst="rect">
            <a:avLst/>
          </a:prstGeom>
        </p:spPr>
      </p:pic>
      <p:pic>
        <p:nvPicPr>
          <p:cNvPr id="8" name="Picture 7">
            <a:extLst>
              <a:ext uri="{FF2B5EF4-FFF2-40B4-BE49-F238E27FC236}">
                <a16:creationId xmlns="" xmlns:a16="http://schemas.microsoft.com/office/drawing/2014/main" id="{BB54D013-E585-42E8-B3F7-DB278C18E6CC}"/>
              </a:ext>
            </a:extLst>
          </p:cNvPr>
          <p:cNvPicPr>
            <a:picLocks noChangeAspect="1"/>
          </p:cNvPicPr>
          <p:nvPr/>
        </p:nvPicPr>
        <p:blipFill>
          <a:blip r:embed="rId49"/>
          <a:stretch>
            <a:fillRect/>
          </a:stretch>
        </p:blipFill>
        <p:spPr>
          <a:xfrm>
            <a:off x="4330176" y="6033715"/>
            <a:ext cx="1020021" cy="175253"/>
          </a:xfrm>
          <a:prstGeom prst="rect">
            <a:avLst/>
          </a:prstGeom>
        </p:spPr>
      </p:pic>
      <p:pic>
        <p:nvPicPr>
          <p:cNvPr id="104" name="Grafik 6">
            <a:extLst>
              <a:ext uri="{FF2B5EF4-FFF2-40B4-BE49-F238E27FC236}">
                <a16:creationId xmlns="" xmlns:a16="http://schemas.microsoft.com/office/drawing/2014/main" id="{760659BE-20E9-405F-A9C2-BCCF4C9DACBE}"/>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6101" t="26481" r="6101" b="26481"/>
          <a:stretch/>
        </p:blipFill>
        <p:spPr>
          <a:xfrm>
            <a:off x="7015039" y="4112625"/>
            <a:ext cx="757225" cy="204819"/>
          </a:xfrm>
          <a:prstGeom prst="rect">
            <a:avLst/>
          </a:prstGeom>
        </p:spPr>
      </p:pic>
      <p:pic>
        <p:nvPicPr>
          <p:cNvPr id="111" name="Grafik 125">
            <a:extLst>
              <a:ext uri="{FF2B5EF4-FFF2-40B4-BE49-F238E27FC236}">
                <a16:creationId xmlns="" xmlns:a16="http://schemas.microsoft.com/office/drawing/2014/main" id="{D76F2550-77E3-4531-A698-37CCC2C1BBC8}"/>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7690064" y="4740386"/>
            <a:ext cx="672903" cy="114057"/>
          </a:xfrm>
          <a:prstGeom prst="rect">
            <a:avLst/>
          </a:prstGeom>
        </p:spPr>
      </p:pic>
    </p:spTree>
    <p:extLst>
      <p:ext uri="{BB962C8B-B14F-4D97-AF65-F5344CB8AC3E}">
        <p14:creationId xmlns:p14="http://schemas.microsoft.com/office/powerpoint/2010/main" val="306578702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5"/>
          <p:cNvSpPr txBox="1">
            <a:spLocks/>
          </p:cNvSpPr>
          <p:nvPr/>
        </p:nvSpPr>
        <p:spPr>
          <a:xfrm>
            <a:off x="948265" y="74087"/>
            <a:ext cx="7692068" cy="545346"/>
          </a:xfrm>
          <a:prstGeom prst="rect">
            <a:avLst/>
          </a:prstGeom>
        </p:spPr>
        <p:txBody>
          <a:bodyPr vert="horz" lIns="0" tIns="0" rIns="0" bIns="0" rtlCol="0" anchor="ctr">
            <a:noAutofit/>
          </a:bodyPr>
          <a:lstStyle>
            <a:lvl1pPr algn="l" defTabSz="914400" rtl="0" eaLnBrk="1" latinLnBrk="0" hangingPunct="1">
              <a:lnSpc>
                <a:spcPts val="3100"/>
              </a:lnSpc>
              <a:spcBef>
                <a:spcPct val="0"/>
              </a:spcBef>
              <a:buNone/>
              <a:defRPr sz="2800" b="0" kern="1200">
                <a:solidFill>
                  <a:schemeClr val="tx2"/>
                </a:solidFill>
                <a:latin typeface="Arial" panose="020B0604020202020204" pitchFamily="34" charset="0"/>
                <a:ea typeface="Roboto" panose="02000000000000000000" pitchFamily="2" charset="0"/>
                <a:cs typeface="Arial" panose="020B0604020202020204" pitchFamily="34" charset="0"/>
              </a:defRPr>
            </a:lvl1pPr>
          </a:lstStyle>
          <a:p>
            <a:r>
              <a:rPr lang="en-US" dirty="0">
                <a:solidFill>
                  <a:srgbClr val="0068B4"/>
                </a:solidFill>
              </a:rPr>
              <a:t>Utimaco: 25 years of experience in security</a:t>
            </a:r>
          </a:p>
        </p:txBody>
      </p:sp>
      <p:pic>
        <p:nvPicPr>
          <p:cNvPr id="11" name="Picture 10">
            <a:extLst>
              <a:ext uri="{FF2B5EF4-FFF2-40B4-BE49-F238E27FC236}">
                <a16:creationId xmlns="" xmlns:a16="http://schemas.microsoft.com/office/drawing/2014/main" id="{D7E8411E-F8D6-45BD-8EAC-16F6E75D99A1}"/>
              </a:ext>
            </a:extLst>
          </p:cNvPr>
          <p:cNvPicPr>
            <a:picLocks noChangeAspect="1"/>
          </p:cNvPicPr>
          <p:nvPr/>
        </p:nvPicPr>
        <p:blipFill>
          <a:blip r:embed="rId3"/>
          <a:stretch>
            <a:fillRect/>
          </a:stretch>
        </p:blipFill>
        <p:spPr>
          <a:xfrm>
            <a:off x="228600" y="819537"/>
            <a:ext cx="11734800" cy="5485396"/>
          </a:xfrm>
          <a:prstGeom prst="rect">
            <a:avLst/>
          </a:prstGeom>
        </p:spPr>
      </p:pic>
    </p:spTree>
    <p:extLst>
      <p:ext uri="{BB962C8B-B14F-4D97-AF65-F5344CB8AC3E}">
        <p14:creationId xmlns:p14="http://schemas.microsoft.com/office/powerpoint/2010/main" val="131210331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183023-8D7B-4307-8D3B-09D9063F47D3}"/>
              </a:ext>
            </a:extLst>
          </p:cNvPr>
          <p:cNvSpPr>
            <a:spLocks noGrp="1"/>
          </p:cNvSpPr>
          <p:nvPr>
            <p:ph type="ctrTitle"/>
          </p:nvPr>
        </p:nvSpPr>
        <p:spPr/>
        <p:txBody>
          <a:bodyPr/>
          <a:lstStyle/>
          <a:p>
            <a:r>
              <a:rPr lang="en-US" dirty="0">
                <a:solidFill>
                  <a:schemeClr val="tx1"/>
                </a:solidFill>
              </a:rPr>
              <a:t>Utimaco HSM</a:t>
            </a:r>
          </a:p>
        </p:txBody>
      </p:sp>
      <p:pic>
        <p:nvPicPr>
          <p:cNvPr id="4" name="Picture 3">
            <a:extLst>
              <a:ext uri="{FF2B5EF4-FFF2-40B4-BE49-F238E27FC236}">
                <a16:creationId xmlns="" xmlns:a16="http://schemas.microsoft.com/office/drawing/2014/main" id="{9A8FA43C-250D-4917-A6DB-2CD3BD95E805}"/>
              </a:ext>
            </a:extLst>
          </p:cNvPr>
          <p:cNvPicPr>
            <a:picLocks noChangeAspect="1"/>
          </p:cNvPicPr>
          <p:nvPr/>
        </p:nvPicPr>
        <p:blipFill>
          <a:blip r:embed="rId2"/>
          <a:stretch>
            <a:fillRect/>
          </a:stretch>
        </p:blipFill>
        <p:spPr>
          <a:xfrm>
            <a:off x="356088" y="924022"/>
            <a:ext cx="11479823" cy="5360064"/>
          </a:xfrm>
          <a:prstGeom prst="rect">
            <a:avLst/>
          </a:prstGeom>
        </p:spPr>
      </p:pic>
      <p:pic>
        <p:nvPicPr>
          <p:cNvPr id="5" name="Picture 4">
            <a:extLst>
              <a:ext uri="{FF2B5EF4-FFF2-40B4-BE49-F238E27FC236}">
                <a16:creationId xmlns="" xmlns:a16="http://schemas.microsoft.com/office/drawing/2014/main" id="{01FB1A30-DB70-43D8-A692-AAD5E4D1B28B}"/>
              </a:ext>
            </a:extLst>
          </p:cNvPr>
          <p:cNvPicPr>
            <a:picLocks noChangeAspect="1"/>
          </p:cNvPicPr>
          <p:nvPr/>
        </p:nvPicPr>
        <p:blipFill>
          <a:blip r:embed="rId3"/>
          <a:stretch>
            <a:fillRect/>
          </a:stretch>
        </p:blipFill>
        <p:spPr>
          <a:xfrm>
            <a:off x="8418191" y="4545792"/>
            <a:ext cx="3578564" cy="1552202"/>
          </a:xfrm>
          <a:prstGeom prst="rect">
            <a:avLst/>
          </a:prstGeom>
        </p:spPr>
      </p:pic>
      <p:pic>
        <p:nvPicPr>
          <p:cNvPr id="6" name="Picture 5">
            <a:extLst>
              <a:ext uri="{FF2B5EF4-FFF2-40B4-BE49-F238E27FC236}">
                <a16:creationId xmlns="" xmlns:a16="http://schemas.microsoft.com/office/drawing/2014/main" id="{41156BDF-924D-4353-9DA1-DA1913E41862}"/>
              </a:ext>
            </a:extLst>
          </p:cNvPr>
          <p:cNvPicPr>
            <a:picLocks noChangeAspect="1"/>
          </p:cNvPicPr>
          <p:nvPr/>
        </p:nvPicPr>
        <p:blipFill>
          <a:blip r:embed="rId4"/>
          <a:stretch>
            <a:fillRect/>
          </a:stretch>
        </p:blipFill>
        <p:spPr>
          <a:xfrm>
            <a:off x="708931" y="3893418"/>
            <a:ext cx="2240745" cy="1261541"/>
          </a:xfrm>
          <a:prstGeom prst="rect">
            <a:avLst/>
          </a:prstGeom>
        </p:spPr>
      </p:pic>
      <p:pic>
        <p:nvPicPr>
          <p:cNvPr id="7" name="Picture 6">
            <a:extLst>
              <a:ext uri="{FF2B5EF4-FFF2-40B4-BE49-F238E27FC236}">
                <a16:creationId xmlns="" xmlns:a16="http://schemas.microsoft.com/office/drawing/2014/main" id="{45A440F7-C8EC-4A21-8437-CD7B8C7415DE}"/>
              </a:ext>
            </a:extLst>
          </p:cNvPr>
          <p:cNvPicPr>
            <a:picLocks noChangeAspect="1"/>
          </p:cNvPicPr>
          <p:nvPr/>
        </p:nvPicPr>
        <p:blipFill>
          <a:blip r:embed="rId5"/>
          <a:stretch>
            <a:fillRect/>
          </a:stretch>
        </p:blipFill>
        <p:spPr>
          <a:xfrm>
            <a:off x="9023386" y="5426159"/>
            <a:ext cx="1182414" cy="914892"/>
          </a:xfrm>
          <a:prstGeom prst="rect">
            <a:avLst/>
          </a:prstGeom>
        </p:spPr>
      </p:pic>
      <p:pic>
        <p:nvPicPr>
          <p:cNvPr id="8" name="Grafik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6194" y="2111002"/>
            <a:ext cx="2680648" cy="744625"/>
          </a:xfrm>
          <a:prstGeom prst="rect">
            <a:avLst/>
          </a:prstGeom>
        </p:spPr>
      </p:pic>
      <p:pic>
        <p:nvPicPr>
          <p:cNvPr id="9" name="Picture 8"/>
          <p:cNvPicPr>
            <a:picLocks noChangeAspect="1"/>
          </p:cNvPicPr>
          <p:nvPr/>
        </p:nvPicPr>
        <p:blipFill rotWithShape="1">
          <a:blip r:embed="rId7" cstate="print">
            <a:extLst>
              <a:ext uri="{28A0092B-C50C-407E-A947-70E740481C1C}">
                <a14:useLocalDpi xmlns:a14="http://schemas.microsoft.com/office/drawing/2010/main" val="0"/>
              </a:ext>
            </a:extLst>
          </a:blip>
          <a:srcRect t="49590"/>
          <a:stretch/>
        </p:blipFill>
        <p:spPr>
          <a:xfrm>
            <a:off x="8807965" y="1238425"/>
            <a:ext cx="2939372" cy="478106"/>
          </a:xfrm>
          <a:prstGeom prst="rect">
            <a:avLst/>
          </a:prstGeom>
        </p:spPr>
      </p:pic>
      <p:sp>
        <p:nvSpPr>
          <p:cNvPr id="10" name="Rectangle 40"/>
          <p:cNvSpPr/>
          <p:nvPr/>
        </p:nvSpPr>
        <p:spPr>
          <a:xfrm>
            <a:off x="8807965" y="1753935"/>
            <a:ext cx="3113173" cy="553998"/>
          </a:xfrm>
          <a:prstGeom prst="rect">
            <a:avLst/>
          </a:prstGeom>
        </p:spPr>
        <p:txBody>
          <a:bodyPr wrap="square" lIns="0" tIns="0" rIns="0" bIns="0">
            <a:spAutoFit/>
          </a:bodyPr>
          <a:lstStyle/>
          <a:p>
            <a:pPr algn="ctr"/>
            <a:r>
              <a:rPr lang="en-US" b="1" dirty="0" smtClean="0">
                <a:solidFill>
                  <a:srgbClr val="0068B4"/>
                </a:solidFill>
              </a:rPr>
              <a:t>Enterprise Secure Key Manager</a:t>
            </a:r>
            <a:endParaRPr lang="en-US" sz="1200" dirty="0"/>
          </a:p>
        </p:txBody>
      </p:sp>
    </p:spTree>
    <p:extLst>
      <p:ext uri="{BB962C8B-B14F-4D97-AF65-F5344CB8AC3E}">
        <p14:creationId xmlns:p14="http://schemas.microsoft.com/office/powerpoint/2010/main" val="415088208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CA92BF6B-EB31-4471-9D05-FB874B66C338}"/>
              </a:ext>
            </a:extLst>
          </p:cNvPr>
          <p:cNvSpPr>
            <a:spLocks noGrp="1"/>
          </p:cNvSpPr>
          <p:nvPr>
            <p:ph type="title"/>
          </p:nvPr>
        </p:nvSpPr>
        <p:spPr/>
        <p:txBody>
          <a:bodyPr/>
          <a:lstStyle/>
          <a:p>
            <a:r>
              <a:rPr lang="en-US" dirty="0"/>
              <a:t>Utimaco Product </a:t>
            </a:r>
            <a:r>
              <a:rPr lang="en-US" dirty="0" err="1"/>
              <a:t>Protfolio</a:t>
            </a:r>
            <a:r>
              <a:rPr lang="en-US" dirty="0"/>
              <a:t> </a:t>
            </a:r>
          </a:p>
        </p:txBody>
      </p:sp>
      <p:pic>
        <p:nvPicPr>
          <p:cNvPr id="5" name="Picture 4">
            <a:extLst>
              <a:ext uri="{FF2B5EF4-FFF2-40B4-BE49-F238E27FC236}">
                <a16:creationId xmlns:a16="http://schemas.microsoft.com/office/drawing/2014/main" xmlns="" id="{8690EFA1-98CC-43FF-9483-12E0BE22D2BE}"/>
              </a:ext>
            </a:extLst>
          </p:cNvPr>
          <p:cNvPicPr>
            <a:picLocks noChangeAspect="1"/>
          </p:cNvPicPr>
          <p:nvPr/>
        </p:nvPicPr>
        <p:blipFill>
          <a:blip r:embed="rId2"/>
          <a:stretch>
            <a:fillRect/>
          </a:stretch>
        </p:blipFill>
        <p:spPr>
          <a:xfrm>
            <a:off x="228600" y="764931"/>
            <a:ext cx="11601883" cy="5463909"/>
          </a:xfrm>
          <a:prstGeom prst="rect">
            <a:avLst/>
          </a:prstGeom>
        </p:spPr>
      </p:pic>
    </p:spTree>
    <p:extLst>
      <p:ext uri="{BB962C8B-B14F-4D97-AF65-F5344CB8AC3E}">
        <p14:creationId xmlns:p14="http://schemas.microsoft.com/office/powerpoint/2010/main" val="22974560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2">
            <a:extLst>
              <a:ext uri="{FF2B5EF4-FFF2-40B4-BE49-F238E27FC236}">
                <a16:creationId xmlns:a16="http://schemas.microsoft.com/office/drawing/2014/main" xmlns="" id="{06EB212C-66C5-4C14-BF0F-96D7E149E591}"/>
              </a:ext>
            </a:extLst>
          </p:cNvPr>
          <p:cNvSpPr txBox="1">
            <a:spLocks/>
          </p:cNvSpPr>
          <p:nvPr/>
        </p:nvSpPr>
        <p:spPr>
          <a:xfrm>
            <a:off x="838199" y="762409"/>
            <a:ext cx="10515600" cy="427294"/>
          </a:xfrm>
          <a:prstGeom prst="rect">
            <a:avLst/>
          </a:prstGeom>
          <a:effectLst/>
        </p:spPr>
        <p:txBody>
          <a:bodyPr vert="horz" lIns="91440" tIns="45720" rIns="91440" bIns="45720" rtlCol="0">
            <a:noAutofit/>
          </a:bodyPr>
          <a:lstStyle>
            <a:lvl1pPr marL="0" indent="0" algn="l" defTabSz="914400" rtl="0" eaLnBrk="1" latinLnBrk="0" hangingPunct="1">
              <a:lnSpc>
                <a:spcPct val="90000"/>
              </a:lnSpc>
              <a:spcBef>
                <a:spcPts val="1000"/>
              </a:spcBef>
              <a:buClr>
                <a:srgbClr val="0068B4"/>
              </a:buClr>
              <a:buSzPct val="100000"/>
              <a:buFont typeface="Wingdings" panose="05000000000000000000" pitchFamily="2" charset="2"/>
              <a:buNone/>
              <a:defRPr sz="2000" kern="1200" baseline="0">
                <a:solidFill>
                  <a:srgbClr val="8F959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8B4"/>
              </a:buClr>
              <a:buSzPct val="100000"/>
              <a:buFont typeface="Wingdings" panose="05000000000000000000" pitchFamily="2" charset="2"/>
              <a:buNone/>
              <a:tabLst/>
              <a:defRPr/>
            </a:pPr>
            <a:r>
              <a:rPr kumimoji="0" lang="en-US" sz="2000" b="0" i="0" u="none" strike="noStrike" kern="1200" cap="none" spc="0" normalizeH="0" baseline="0" noProof="0">
                <a:ln>
                  <a:noFill/>
                </a:ln>
                <a:solidFill>
                  <a:srgbClr val="8F9597"/>
                </a:solidFill>
                <a:effectLst/>
                <a:uLnTx/>
                <a:uFillTx/>
                <a:latin typeface="Arial" panose="020B0604020202020204" pitchFamily="34" charset="0"/>
                <a:ea typeface="+mn-ea"/>
                <a:cs typeface="Arial" panose="020B0604020202020204" pitchFamily="34" charset="0"/>
              </a:rPr>
              <a:t>CryptoServer Hardware Security Modules</a:t>
            </a:r>
          </a:p>
          <a:p>
            <a:pPr marL="0" marR="0" lvl="0" indent="0" algn="l" defTabSz="914400" rtl="0" eaLnBrk="1" fontAlgn="auto" latinLnBrk="0" hangingPunct="1">
              <a:lnSpc>
                <a:spcPct val="90000"/>
              </a:lnSpc>
              <a:spcBef>
                <a:spcPts val="1000"/>
              </a:spcBef>
              <a:spcAft>
                <a:spcPts val="0"/>
              </a:spcAft>
              <a:buClr>
                <a:srgbClr val="0068B4"/>
              </a:buClr>
              <a:buSzPct val="100000"/>
              <a:buFont typeface="Wingdings" panose="05000000000000000000" pitchFamily="2" charset="2"/>
              <a:buNone/>
              <a:tabLst/>
              <a:defRPr/>
            </a:pPr>
            <a:endParaRPr kumimoji="0" lang="en-US" sz="2000" b="0" i="0" u="none" strike="noStrike" kern="1200" cap="none" spc="0" normalizeH="0" baseline="0" noProof="0" dirty="0">
              <a:ln>
                <a:noFill/>
              </a:ln>
              <a:solidFill>
                <a:srgbClr val="8F9597"/>
              </a:solidFill>
              <a:effectLst/>
              <a:uLnTx/>
              <a:uFillTx/>
              <a:latin typeface="Arial" panose="020B0604020202020204" pitchFamily="34" charset="0"/>
              <a:ea typeface="+mn-ea"/>
              <a:cs typeface="Arial" panose="020B0604020202020204" pitchFamily="34" charset="0"/>
            </a:endParaRPr>
          </a:p>
        </p:txBody>
      </p:sp>
      <p:sp>
        <p:nvSpPr>
          <p:cNvPr id="33" name="Title 1">
            <a:extLst>
              <a:ext uri="{FF2B5EF4-FFF2-40B4-BE49-F238E27FC236}">
                <a16:creationId xmlns:a16="http://schemas.microsoft.com/office/drawing/2014/main" xmlns="" id="{BAF42348-C291-4AB4-AD3D-5AFD7C8DEB8F}"/>
              </a:ext>
            </a:extLst>
          </p:cNvPr>
          <p:cNvSpPr txBox="1">
            <a:spLocks/>
          </p:cNvSpPr>
          <p:nvPr/>
        </p:nvSpPr>
        <p:spPr>
          <a:xfrm>
            <a:off x="838199" y="74087"/>
            <a:ext cx="10515600" cy="5453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kern="1200">
                <a:solidFill>
                  <a:srgbClr val="0068B4"/>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0068B4"/>
                </a:solidFill>
                <a:effectLst/>
                <a:uLnTx/>
                <a:uFillTx/>
                <a:latin typeface="Arial" panose="020B0604020202020204" pitchFamily="34" charset="0"/>
                <a:ea typeface="+mj-ea"/>
                <a:cs typeface="Arial" panose="020B0604020202020204" pitchFamily="34" charset="0"/>
              </a:rPr>
              <a:t>Product Portfolio</a:t>
            </a:r>
            <a:endParaRPr kumimoji="0" lang="en-US" sz="2800" b="0" i="0" u="none" strike="noStrike" kern="1200" cap="none" spc="0" normalizeH="0" baseline="0" noProof="0" dirty="0">
              <a:ln>
                <a:noFill/>
              </a:ln>
              <a:solidFill>
                <a:srgbClr val="0068B4"/>
              </a:solidFill>
              <a:effectLst/>
              <a:uLnTx/>
              <a:uFillTx/>
              <a:latin typeface="Arial" panose="020B0604020202020204" pitchFamily="34" charset="0"/>
              <a:ea typeface="+mj-ea"/>
              <a:cs typeface="Arial" panose="020B0604020202020204" pitchFamily="34" charset="0"/>
            </a:endParaRPr>
          </a:p>
        </p:txBody>
      </p:sp>
      <p:sp>
        <p:nvSpPr>
          <p:cNvPr id="36" name="Rounded Rectangle 7">
            <a:extLst>
              <a:ext uri="{FF2B5EF4-FFF2-40B4-BE49-F238E27FC236}">
                <a16:creationId xmlns:a16="http://schemas.microsoft.com/office/drawing/2014/main" xmlns="" id="{E9710E3D-0759-4BF5-9283-5F70325457B9}"/>
              </a:ext>
            </a:extLst>
          </p:cNvPr>
          <p:cNvSpPr/>
          <p:nvPr/>
        </p:nvSpPr>
        <p:spPr>
          <a:xfrm>
            <a:off x="2308251" y="2767113"/>
            <a:ext cx="1655600" cy="578902"/>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PCIe</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plug-in card</a:t>
            </a:r>
          </a:p>
        </p:txBody>
      </p:sp>
      <p:sp>
        <p:nvSpPr>
          <p:cNvPr id="37" name="Rounded Rectangle 9">
            <a:extLst>
              <a:ext uri="{FF2B5EF4-FFF2-40B4-BE49-F238E27FC236}">
                <a16:creationId xmlns:a16="http://schemas.microsoft.com/office/drawing/2014/main" xmlns="" id="{F191AD93-8C60-4D08-9629-08FF75AED28D}"/>
              </a:ext>
            </a:extLst>
          </p:cNvPr>
          <p:cNvSpPr/>
          <p:nvPr/>
        </p:nvSpPr>
        <p:spPr>
          <a:xfrm>
            <a:off x="4099468" y="2768259"/>
            <a:ext cx="1661942" cy="57775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Network</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ttached</a:t>
            </a:r>
          </a:p>
        </p:txBody>
      </p:sp>
      <p:sp>
        <p:nvSpPr>
          <p:cNvPr id="38" name="Rounded Rectangle 11">
            <a:extLst>
              <a:ext uri="{FF2B5EF4-FFF2-40B4-BE49-F238E27FC236}">
                <a16:creationId xmlns:a16="http://schemas.microsoft.com/office/drawing/2014/main" xmlns="" id="{36053B79-BAED-4703-AFCC-2C8107EDEF9E}"/>
              </a:ext>
            </a:extLst>
          </p:cNvPr>
          <p:cNvSpPr/>
          <p:nvPr/>
        </p:nvSpPr>
        <p:spPr>
          <a:xfrm>
            <a:off x="2312102" y="3490031"/>
            <a:ext cx="9293959"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T)DES, AES, RSA, (EC)DSA, (EC)DH, SHA, …</a:t>
            </a:r>
          </a:p>
        </p:txBody>
      </p:sp>
      <p:sp>
        <p:nvSpPr>
          <p:cNvPr id="39" name="Rounded Rectangle 12">
            <a:extLst>
              <a:ext uri="{FF2B5EF4-FFF2-40B4-BE49-F238E27FC236}">
                <a16:creationId xmlns:a16="http://schemas.microsoft.com/office/drawing/2014/main" xmlns="" id="{C523982C-94CE-4275-955F-6939EFE7F9C1}"/>
              </a:ext>
            </a:extLst>
          </p:cNvPr>
          <p:cNvSpPr/>
          <p:nvPr/>
        </p:nvSpPr>
        <p:spPr>
          <a:xfrm>
            <a:off x="2312102" y="4218224"/>
            <a:ext cx="3449308"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a:ea typeface="+mn-ea"/>
                <a:cs typeface="+mn-cs"/>
              </a:rPr>
              <a:t>RSA 2048 Single Signing / sec</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smtClean="0">
                <a:ln>
                  <a:noFill/>
                </a:ln>
                <a:solidFill>
                  <a:prstClr val="black"/>
                </a:solidFill>
                <a:effectLst/>
                <a:uLnTx/>
                <a:uFillTx/>
                <a:latin typeface="Arial" panose="020B0604020202020204"/>
                <a:ea typeface="+mn-ea"/>
                <a:cs typeface="+mn-cs"/>
              </a:rPr>
              <a:t>16 /75</a:t>
            </a:r>
            <a:r>
              <a:rPr kumimoji="0" lang="en-US" sz="1400" b="0" i="0" u="none" strike="noStrike" kern="1200" cap="none" spc="0" normalizeH="0" noProof="0" dirty="0" smtClean="0">
                <a:ln>
                  <a:noFill/>
                </a:ln>
                <a:solidFill>
                  <a:prstClr val="black"/>
                </a:solidFill>
                <a:effectLst/>
                <a:uLnTx/>
                <a:uFillTx/>
                <a:latin typeface="Arial" panose="020B0604020202020204"/>
                <a:ea typeface="+mn-ea"/>
                <a:cs typeface="+mn-cs"/>
              </a:rPr>
              <a:t>/560/750</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Rounded Rectangle 14">
            <a:extLst>
              <a:ext uri="{FF2B5EF4-FFF2-40B4-BE49-F238E27FC236}">
                <a16:creationId xmlns:a16="http://schemas.microsoft.com/office/drawing/2014/main" xmlns="" id="{A0FB9B77-A8A5-4418-BD79-6002EC9ABEAE}"/>
              </a:ext>
            </a:extLst>
          </p:cNvPr>
          <p:cNvSpPr/>
          <p:nvPr/>
        </p:nvSpPr>
        <p:spPr>
          <a:xfrm>
            <a:off x="512318" y="2769951"/>
            <a:ext cx="1655600"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Physical</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Interface</a:t>
            </a:r>
          </a:p>
        </p:txBody>
      </p:sp>
      <p:sp>
        <p:nvSpPr>
          <p:cNvPr id="41" name="Rounded Rectangle 15">
            <a:extLst>
              <a:ext uri="{FF2B5EF4-FFF2-40B4-BE49-F238E27FC236}">
                <a16:creationId xmlns:a16="http://schemas.microsoft.com/office/drawing/2014/main" xmlns="" id="{880E40FE-55C7-4BFA-A734-2E9A451AF3ED}"/>
              </a:ext>
            </a:extLst>
          </p:cNvPr>
          <p:cNvSpPr/>
          <p:nvPr/>
        </p:nvSpPr>
        <p:spPr>
          <a:xfrm>
            <a:off x="512318" y="3490031"/>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ryptographic Support</a:t>
            </a:r>
          </a:p>
        </p:txBody>
      </p:sp>
      <p:sp>
        <p:nvSpPr>
          <p:cNvPr id="42" name="Rounded Rectangle 16">
            <a:extLst>
              <a:ext uri="{FF2B5EF4-FFF2-40B4-BE49-F238E27FC236}">
                <a16:creationId xmlns:a16="http://schemas.microsoft.com/office/drawing/2014/main" xmlns="" id="{A68E412D-0D07-4B71-84EF-00B2DEBF7617}"/>
              </a:ext>
            </a:extLst>
          </p:cNvPr>
          <p:cNvSpPr/>
          <p:nvPr/>
        </p:nvSpPr>
        <p:spPr>
          <a:xfrm>
            <a:off x="512318" y="4223900"/>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a:ea typeface="+mn-ea"/>
                <a:cs typeface="+mn-cs"/>
              </a:rPr>
              <a:t>Signing Performance</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Rounded Rectangle 29">
            <a:extLst>
              <a:ext uri="{FF2B5EF4-FFF2-40B4-BE49-F238E27FC236}">
                <a16:creationId xmlns:a16="http://schemas.microsoft.com/office/drawing/2014/main" xmlns="" id="{D4F0EB9F-5964-4AAC-931E-09199CB782C6}"/>
              </a:ext>
            </a:extLst>
          </p:cNvPr>
          <p:cNvSpPr/>
          <p:nvPr/>
        </p:nvSpPr>
        <p:spPr>
          <a:xfrm>
            <a:off x="8125851" y="4221062"/>
            <a:ext cx="3480210"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lvl="0" algn="ctr" defTabSz="457200">
              <a:defRPr/>
            </a:pPr>
            <a:r>
              <a:rPr lang="en-US" sz="1400" dirty="0">
                <a:solidFill>
                  <a:prstClr val="black"/>
                </a:solidFill>
              </a:rPr>
              <a:t>RSA 2048 Single Signing / sec</a:t>
            </a:r>
            <a:br>
              <a:rPr lang="en-US" sz="1400" dirty="0">
                <a:solidFill>
                  <a:prstClr val="black"/>
                </a:solidFill>
              </a:rPr>
            </a:br>
            <a:r>
              <a:rPr lang="en-US" sz="1400" dirty="0" smtClean="0">
                <a:solidFill>
                  <a:prstClr val="black"/>
                </a:solidFill>
              </a:rPr>
              <a:t>17/90</a:t>
            </a:r>
            <a:endParaRPr lang="en-US" sz="1400" dirty="0">
              <a:solidFill>
                <a:prstClr val="black"/>
              </a:solidFill>
            </a:endParaRPr>
          </a:p>
        </p:txBody>
      </p:sp>
      <p:sp>
        <p:nvSpPr>
          <p:cNvPr id="44" name="Rounded Rectangle 7">
            <a:extLst>
              <a:ext uri="{FF2B5EF4-FFF2-40B4-BE49-F238E27FC236}">
                <a16:creationId xmlns:a16="http://schemas.microsoft.com/office/drawing/2014/main" xmlns="" id="{1458E040-3DD1-4FF2-846D-003DEB70B13B}"/>
              </a:ext>
            </a:extLst>
          </p:cNvPr>
          <p:cNvSpPr/>
          <p:nvPr/>
        </p:nvSpPr>
        <p:spPr>
          <a:xfrm>
            <a:off x="8125851" y="2763339"/>
            <a:ext cx="1655600" cy="58267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PCIe</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plug-in card</a:t>
            </a:r>
          </a:p>
        </p:txBody>
      </p:sp>
      <p:sp>
        <p:nvSpPr>
          <p:cNvPr id="45" name="Rounded Rectangle 9">
            <a:extLst>
              <a:ext uri="{FF2B5EF4-FFF2-40B4-BE49-F238E27FC236}">
                <a16:creationId xmlns:a16="http://schemas.microsoft.com/office/drawing/2014/main" xmlns="" id="{90EBD379-0A64-4721-B901-11919C1E5684}"/>
              </a:ext>
            </a:extLst>
          </p:cNvPr>
          <p:cNvSpPr/>
          <p:nvPr/>
        </p:nvSpPr>
        <p:spPr>
          <a:xfrm>
            <a:off x="9947747" y="2764485"/>
            <a:ext cx="1661942" cy="581530"/>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Network</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ttached</a:t>
            </a:r>
          </a:p>
        </p:txBody>
      </p:sp>
      <p:sp>
        <p:nvSpPr>
          <p:cNvPr id="46" name="Rounded Rectangle 9">
            <a:extLst>
              <a:ext uri="{FF2B5EF4-FFF2-40B4-BE49-F238E27FC236}">
                <a16:creationId xmlns:a16="http://schemas.microsoft.com/office/drawing/2014/main" xmlns="" id="{0C8EACA5-925B-4214-9198-454785C73831}"/>
              </a:ext>
            </a:extLst>
          </p:cNvPr>
          <p:cNvSpPr/>
          <p:nvPr/>
        </p:nvSpPr>
        <p:spPr>
          <a:xfrm>
            <a:off x="5897027" y="2769951"/>
            <a:ext cx="1661942" cy="57775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loud Connection</a:t>
            </a:r>
          </a:p>
        </p:txBody>
      </p:sp>
      <p:sp>
        <p:nvSpPr>
          <p:cNvPr id="47" name="Rounded Rectangle 12">
            <a:extLst>
              <a:ext uri="{FF2B5EF4-FFF2-40B4-BE49-F238E27FC236}">
                <a16:creationId xmlns:a16="http://schemas.microsoft.com/office/drawing/2014/main" xmlns="" id="{C8C73B04-E66D-49B2-9F8A-C3BF26996FB4}"/>
              </a:ext>
            </a:extLst>
          </p:cNvPr>
          <p:cNvSpPr/>
          <p:nvPr/>
        </p:nvSpPr>
        <p:spPr>
          <a:xfrm>
            <a:off x="5905426" y="4227682"/>
            <a:ext cx="1653543"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lvl="0" algn="ctr" defTabSz="457200">
              <a:defRPr/>
            </a:pPr>
            <a:r>
              <a:rPr lang="en-US" sz="1400" dirty="0">
                <a:solidFill>
                  <a:prstClr val="black"/>
                </a:solidFill>
              </a:rPr>
              <a:t>RSA 2048 Single Signing / sec</a:t>
            </a:r>
            <a:br>
              <a:rPr lang="en-US" sz="1400" dirty="0">
                <a:solidFill>
                  <a:prstClr val="black"/>
                </a:solidFill>
              </a:rPr>
            </a:br>
            <a:r>
              <a:rPr lang="en-US" sz="1400" dirty="0" smtClean="0">
                <a:solidFill>
                  <a:prstClr val="black"/>
                </a:solidFill>
              </a:rPr>
              <a:t>560/750</a:t>
            </a:r>
            <a:endParaRPr lang="en-US" sz="1400" dirty="0">
              <a:solidFill>
                <a:prstClr val="black"/>
              </a:solidFill>
            </a:endParaRPr>
          </a:p>
        </p:txBody>
      </p:sp>
      <p:sp>
        <p:nvSpPr>
          <p:cNvPr id="49" name="Rounded Rectangle 17">
            <a:extLst>
              <a:ext uri="{FF2B5EF4-FFF2-40B4-BE49-F238E27FC236}">
                <a16:creationId xmlns:a16="http://schemas.microsoft.com/office/drawing/2014/main" xmlns="" id="{08A08941-FEAD-4FD9-8717-C00A1A71602B}"/>
              </a:ext>
            </a:extLst>
          </p:cNvPr>
          <p:cNvSpPr/>
          <p:nvPr/>
        </p:nvSpPr>
        <p:spPr>
          <a:xfrm>
            <a:off x="2315305" y="1199328"/>
            <a:ext cx="5255265" cy="590797"/>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ryptoServer</a:t>
            </a:r>
            <a:b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Se-Series 12/52/500/1500</a:t>
            </a:r>
          </a:p>
        </p:txBody>
      </p:sp>
      <p:pic>
        <p:nvPicPr>
          <p:cNvPr id="50" name="Picture 49">
            <a:extLst>
              <a:ext uri="{FF2B5EF4-FFF2-40B4-BE49-F238E27FC236}">
                <a16:creationId xmlns:a16="http://schemas.microsoft.com/office/drawing/2014/main" xmlns="" id="{4BDC92F6-9EF5-4947-8843-022856916BE5}"/>
              </a:ext>
            </a:extLst>
          </p:cNvPr>
          <p:cNvPicPr>
            <a:picLocks noChangeAspect="1"/>
          </p:cNvPicPr>
          <p:nvPr/>
        </p:nvPicPr>
        <p:blipFill>
          <a:blip r:embed="rId3"/>
          <a:stretch>
            <a:fillRect/>
          </a:stretch>
        </p:blipFill>
        <p:spPr>
          <a:xfrm>
            <a:off x="2626538" y="1877669"/>
            <a:ext cx="1135625" cy="796357"/>
          </a:xfrm>
          <a:prstGeom prst="rect">
            <a:avLst/>
          </a:prstGeom>
        </p:spPr>
      </p:pic>
      <p:pic>
        <p:nvPicPr>
          <p:cNvPr id="54" name="Picture 53">
            <a:extLst>
              <a:ext uri="{FF2B5EF4-FFF2-40B4-BE49-F238E27FC236}">
                <a16:creationId xmlns:a16="http://schemas.microsoft.com/office/drawing/2014/main" xmlns="" id="{45A440F7-C8EC-4A21-8437-CD7B8C7415DE}"/>
              </a:ext>
            </a:extLst>
          </p:cNvPr>
          <p:cNvPicPr>
            <a:picLocks noChangeAspect="1"/>
          </p:cNvPicPr>
          <p:nvPr/>
        </p:nvPicPr>
        <p:blipFill>
          <a:blip r:embed="rId4"/>
          <a:stretch>
            <a:fillRect/>
          </a:stretch>
        </p:blipFill>
        <p:spPr>
          <a:xfrm>
            <a:off x="8451143" y="1769598"/>
            <a:ext cx="1182414" cy="914892"/>
          </a:xfrm>
          <a:prstGeom prst="rect">
            <a:avLst/>
          </a:prstGeom>
        </p:spPr>
      </p:pic>
      <p:sp>
        <p:nvSpPr>
          <p:cNvPr id="55" name="Rounded Rectangle 17">
            <a:extLst>
              <a:ext uri="{FF2B5EF4-FFF2-40B4-BE49-F238E27FC236}">
                <a16:creationId xmlns:a16="http://schemas.microsoft.com/office/drawing/2014/main" xmlns="" id="{041D064D-5F47-4153-A8C1-DD5CA941F826}"/>
              </a:ext>
            </a:extLst>
          </p:cNvPr>
          <p:cNvSpPr/>
          <p:nvPr/>
        </p:nvSpPr>
        <p:spPr>
          <a:xfrm>
            <a:off x="8125851" y="1199328"/>
            <a:ext cx="3480210" cy="590797"/>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ryptoServer</a:t>
            </a:r>
            <a:b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Se-Series 10/100</a:t>
            </a:r>
          </a:p>
        </p:txBody>
      </p:sp>
      <p:pic>
        <p:nvPicPr>
          <p:cNvPr id="56" name="Picture 55">
            <a:extLst>
              <a:ext uri="{FF2B5EF4-FFF2-40B4-BE49-F238E27FC236}">
                <a16:creationId xmlns:a16="http://schemas.microsoft.com/office/drawing/2014/main" xmlns="" id="{01FB1A30-DB70-43D8-A692-AAD5E4D1B28B}"/>
              </a:ext>
            </a:extLst>
          </p:cNvPr>
          <p:cNvPicPr>
            <a:picLocks noChangeAspect="1"/>
          </p:cNvPicPr>
          <p:nvPr/>
        </p:nvPicPr>
        <p:blipFill>
          <a:blip r:embed="rId5"/>
          <a:stretch>
            <a:fillRect/>
          </a:stretch>
        </p:blipFill>
        <p:spPr>
          <a:xfrm>
            <a:off x="3711237" y="1703912"/>
            <a:ext cx="2438405" cy="1057658"/>
          </a:xfrm>
          <a:prstGeom prst="rect">
            <a:avLst/>
          </a:prstGeom>
        </p:spPr>
      </p:pic>
      <p:pic>
        <p:nvPicPr>
          <p:cNvPr id="57" name="Picture 56">
            <a:extLst>
              <a:ext uri="{FF2B5EF4-FFF2-40B4-BE49-F238E27FC236}">
                <a16:creationId xmlns:a16="http://schemas.microsoft.com/office/drawing/2014/main" xmlns="" id="{F817E819-25F4-498A-9A88-6997652E9C8A}"/>
              </a:ext>
            </a:extLst>
          </p:cNvPr>
          <p:cNvPicPr>
            <a:picLocks noChangeAspect="1"/>
          </p:cNvPicPr>
          <p:nvPr/>
        </p:nvPicPr>
        <p:blipFill>
          <a:blip r:embed="rId6"/>
          <a:stretch>
            <a:fillRect/>
          </a:stretch>
        </p:blipFill>
        <p:spPr>
          <a:xfrm>
            <a:off x="6033099" y="1828675"/>
            <a:ext cx="1402416" cy="789561"/>
          </a:xfrm>
          <a:prstGeom prst="rect">
            <a:avLst/>
          </a:prstGeom>
        </p:spPr>
      </p:pic>
      <p:pic>
        <p:nvPicPr>
          <p:cNvPr id="58" name="Picture 57">
            <a:extLst>
              <a:ext uri="{FF2B5EF4-FFF2-40B4-BE49-F238E27FC236}">
                <a16:creationId xmlns:a16="http://schemas.microsoft.com/office/drawing/2014/main" xmlns="" id="{3C60C784-06D9-4FA8-B3DB-E5D2193CF723}"/>
              </a:ext>
            </a:extLst>
          </p:cNvPr>
          <p:cNvPicPr>
            <a:picLocks noChangeAspect="1"/>
          </p:cNvPicPr>
          <p:nvPr/>
        </p:nvPicPr>
        <p:blipFill>
          <a:blip r:embed="rId5"/>
          <a:stretch>
            <a:fillRect/>
          </a:stretch>
        </p:blipFill>
        <p:spPr>
          <a:xfrm>
            <a:off x="9555889" y="1694626"/>
            <a:ext cx="2438405" cy="1057658"/>
          </a:xfrm>
          <a:prstGeom prst="rect">
            <a:avLst/>
          </a:prstGeom>
        </p:spPr>
      </p:pic>
      <p:sp>
        <p:nvSpPr>
          <p:cNvPr id="23" name="Rounded Rectangle 12">
            <a:extLst>
              <a:ext uri="{FF2B5EF4-FFF2-40B4-BE49-F238E27FC236}">
                <a16:creationId xmlns:a16="http://schemas.microsoft.com/office/drawing/2014/main" xmlns="" id="{C523982C-94CE-4275-955F-6939EFE7F9C1}"/>
              </a:ext>
            </a:extLst>
          </p:cNvPr>
          <p:cNvSpPr/>
          <p:nvPr/>
        </p:nvSpPr>
        <p:spPr>
          <a:xfrm>
            <a:off x="2303703" y="4926263"/>
            <a:ext cx="3449308"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FIPS 140-2 Level 3,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ommon Criteria EAL4+, PCI-HSM*</a:t>
            </a:r>
          </a:p>
        </p:txBody>
      </p:sp>
      <p:sp>
        <p:nvSpPr>
          <p:cNvPr id="24" name="Rounded Rectangle 16">
            <a:extLst>
              <a:ext uri="{FF2B5EF4-FFF2-40B4-BE49-F238E27FC236}">
                <a16:creationId xmlns:a16="http://schemas.microsoft.com/office/drawing/2014/main" xmlns="" id="{A68E412D-0D07-4B71-84EF-00B2DEBF7617}"/>
              </a:ext>
            </a:extLst>
          </p:cNvPr>
          <p:cNvSpPr/>
          <p:nvPr/>
        </p:nvSpPr>
        <p:spPr>
          <a:xfrm>
            <a:off x="503919" y="4931939"/>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ertification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 in progress)</a:t>
            </a:r>
          </a:p>
        </p:txBody>
      </p:sp>
      <p:sp>
        <p:nvSpPr>
          <p:cNvPr id="25" name="Rounded Rectangle 29">
            <a:extLst>
              <a:ext uri="{FF2B5EF4-FFF2-40B4-BE49-F238E27FC236}">
                <a16:creationId xmlns:a16="http://schemas.microsoft.com/office/drawing/2014/main" xmlns="" id="{D4F0EB9F-5964-4AAC-931E-09199CB782C6}"/>
              </a:ext>
            </a:extLst>
          </p:cNvPr>
          <p:cNvSpPr/>
          <p:nvPr/>
        </p:nvSpPr>
        <p:spPr>
          <a:xfrm>
            <a:off x="8117452" y="4929101"/>
            <a:ext cx="3480210"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FIPS 140-2 L3 w/ Phys. Security L4,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C Evaluation w/ Attack Potential “Hig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DK” Approval, PCI-HSM</a:t>
            </a:r>
          </a:p>
        </p:txBody>
      </p:sp>
      <p:sp>
        <p:nvSpPr>
          <p:cNvPr id="26" name="Rounded Rectangle 12">
            <a:extLst>
              <a:ext uri="{FF2B5EF4-FFF2-40B4-BE49-F238E27FC236}">
                <a16:creationId xmlns:a16="http://schemas.microsoft.com/office/drawing/2014/main" xmlns="" id="{C8C73B04-E66D-49B2-9F8A-C3BF26996FB4}"/>
              </a:ext>
            </a:extLst>
          </p:cNvPr>
          <p:cNvSpPr/>
          <p:nvPr/>
        </p:nvSpPr>
        <p:spPr>
          <a:xfrm>
            <a:off x="5897027" y="4935721"/>
            <a:ext cx="1653543"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FIPS 140-2</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Level 3</a:t>
            </a:r>
          </a:p>
        </p:txBody>
      </p:sp>
    </p:spTree>
    <p:extLst>
      <p:ext uri="{BB962C8B-B14F-4D97-AF65-F5344CB8AC3E}">
        <p14:creationId xmlns:p14="http://schemas.microsoft.com/office/powerpoint/2010/main" val="316692924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ontent Placeholder 4">
            <a:extLst>
              <a:ext uri="{FF2B5EF4-FFF2-40B4-BE49-F238E27FC236}">
                <a16:creationId xmlns:a16="http://schemas.microsoft.com/office/drawing/2014/main" xmlns="" id="{5D2CD176-756D-4277-8944-AA06DBE57141}"/>
              </a:ext>
            </a:extLst>
          </p:cNvPr>
          <p:cNvSpPr txBox="1">
            <a:spLocks/>
          </p:cNvSpPr>
          <p:nvPr/>
        </p:nvSpPr>
        <p:spPr>
          <a:xfrm>
            <a:off x="838199" y="762409"/>
            <a:ext cx="10515600" cy="427294"/>
          </a:xfrm>
          <a:prstGeom prst="rect">
            <a:avLst/>
          </a:prstGeom>
          <a:effectLst/>
        </p:spPr>
        <p:txBody>
          <a:bodyPr vert="horz" lIns="91440" tIns="45720" rIns="91440" bIns="45720" rtlCol="0">
            <a:noAutofit/>
          </a:bodyPr>
          <a:lstStyle>
            <a:lvl1pPr marL="0" indent="0" algn="l" defTabSz="914400" rtl="0" eaLnBrk="1" latinLnBrk="0" hangingPunct="1">
              <a:lnSpc>
                <a:spcPct val="90000"/>
              </a:lnSpc>
              <a:spcBef>
                <a:spcPts val="1000"/>
              </a:spcBef>
              <a:buClr>
                <a:srgbClr val="0068B4"/>
              </a:buClr>
              <a:buSzPct val="100000"/>
              <a:buFont typeface="Wingdings" panose="05000000000000000000" pitchFamily="2" charset="2"/>
              <a:buNone/>
              <a:defRPr sz="2000" kern="1200" baseline="0">
                <a:solidFill>
                  <a:srgbClr val="8F959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68B4"/>
              </a:buClr>
              <a:buSzPct val="100000"/>
              <a:buFont typeface="Wingdings" panose="05000000000000000000" pitchFamily="2" charset="2"/>
              <a:buNone/>
              <a:tabLst/>
              <a:defRPr/>
            </a:pPr>
            <a:r>
              <a:rPr kumimoji="0" lang="en-US" sz="2000" b="0" i="0" u="none" strike="noStrike" kern="1200" cap="none" spc="0" normalizeH="0" baseline="0" noProof="0">
                <a:ln>
                  <a:noFill/>
                </a:ln>
                <a:solidFill>
                  <a:srgbClr val="8F9597"/>
                </a:solidFill>
                <a:effectLst/>
                <a:uLnTx/>
                <a:uFillTx/>
                <a:latin typeface="Arial" panose="020B0604020202020204" pitchFamily="34" charset="0"/>
                <a:ea typeface="+mn-ea"/>
                <a:cs typeface="Arial" panose="020B0604020202020204" pitchFamily="34" charset="0"/>
              </a:rPr>
              <a:t>Product Packages</a:t>
            </a:r>
          </a:p>
          <a:p>
            <a:pPr marL="0" marR="0" lvl="0" indent="0" algn="l" defTabSz="914400" rtl="0" eaLnBrk="1" fontAlgn="auto" latinLnBrk="0" hangingPunct="1">
              <a:lnSpc>
                <a:spcPct val="90000"/>
              </a:lnSpc>
              <a:spcBef>
                <a:spcPts val="1000"/>
              </a:spcBef>
              <a:spcAft>
                <a:spcPts val="0"/>
              </a:spcAft>
              <a:buClr>
                <a:srgbClr val="0068B4"/>
              </a:buClr>
              <a:buSzPct val="100000"/>
              <a:buFont typeface="Wingdings" panose="05000000000000000000" pitchFamily="2" charset="2"/>
              <a:buNone/>
              <a:tabLst/>
              <a:defRPr/>
            </a:pPr>
            <a:endParaRPr kumimoji="0" lang="en-US" sz="2000" b="0" i="0" u="none" strike="noStrike" kern="1200" cap="none" spc="0" normalizeH="0" baseline="0" noProof="0" dirty="0">
              <a:ln>
                <a:noFill/>
              </a:ln>
              <a:solidFill>
                <a:srgbClr val="8F9597"/>
              </a:solidFill>
              <a:effectLst/>
              <a:uLnTx/>
              <a:uFillTx/>
              <a:latin typeface="Arial" panose="020B0604020202020204" pitchFamily="34" charset="0"/>
              <a:ea typeface="+mn-ea"/>
              <a:cs typeface="Arial" panose="020B0604020202020204" pitchFamily="34" charset="0"/>
            </a:endParaRPr>
          </a:p>
        </p:txBody>
      </p:sp>
      <p:sp>
        <p:nvSpPr>
          <p:cNvPr id="36" name="Title 1">
            <a:extLst>
              <a:ext uri="{FF2B5EF4-FFF2-40B4-BE49-F238E27FC236}">
                <a16:creationId xmlns:a16="http://schemas.microsoft.com/office/drawing/2014/main" xmlns="" id="{A0D75988-B653-49AD-99D3-43B62616045E}"/>
              </a:ext>
            </a:extLst>
          </p:cNvPr>
          <p:cNvSpPr>
            <a:spLocks noGrp="1"/>
          </p:cNvSpPr>
          <p:nvPr>
            <p:ph type="title"/>
          </p:nvPr>
        </p:nvSpPr>
        <p:spPr>
          <a:xfrm>
            <a:off x="838199" y="74087"/>
            <a:ext cx="10515600" cy="545346"/>
          </a:xfrm>
        </p:spPr>
        <p:txBody>
          <a:bodyPr/>
          <a:lstStyle/>
          <a:p>
            <a:r>
              <a:rPr lang="en-US" dirty="0"/>
              <a:t>Product Portfolio</a:t>
            </a:r>
            <a:endParaRPr lang="en-US" noProof="0" dirty="0"/>
          </a:p>
        </p:txBody>
      </p:sp>
      <p:sp>
        <p:nvSpPr>
          <p:cNvPr id="40" name="Rounded Rectangle 38">
            <a:extLst>
              <a:ext uri="{FF2B5EF4-FFF2-40B4-BE49-F238E27FC236}">
                <a16:creationId xmlns:a16="http://schemas.microsoft.com/office/drawing/2014/main" xmlns="" id="{4EC39BDF-434F-4F85-9EF5-33F574AE3D78}"/>
              </a:ext>
            </a:extLst>
          </p:cNvPr>
          <p:cNvSpPr/>
          <p:nvPr/>
        </p:nvSpPr>
        <p:spPr>
          <a:xfrm>
            <a:off x="2315306" y="2770231"/>
            <a:ext cx="9290756"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PKCS#11, JCE, MS CSP/CNG/SQL EKM, CXI</a:t>
            </a:r>
          </a:p>
        </p:txBody>
      </p:sp>
      <p:sp>
        <p:nvSpPr>
          <p:cNvPr id="43" name="Rounded Rectangle 40">
            <a:extLst>
              <a:ext uri="{FF2B5EF4-FFF2-40B4-BE49-F238E27FC236}">
                <a16:creationId xmlns:a16="http://schemas.microsoft.com/office/drawing/2014/main" xmlns="" id="{09FD55F2-65E7-4BC9-9DF8-E9629A63021A}"/>
              </a:ext>
            </a:extLst>
          </p:cNvPr>
          <p:cNvSpPr/>
          <p:nvPr/>
        </p:nvSpPr>
        <p:spPr>
          <a:xfrm>
            <a:off x="515522" y="2770231"/>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SecurityServer</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Rounded Rectangle 17">
            <a:extLst>
              <a:ext uri="{FF2B5EF4-FFF2-40B4-BE49-F238E27FC236}">
                <a16:creationId xmlns:a16="http://schemas.microsoft.com/office/drawing/2014/main" xmlns="" id="{45CAC004-7F3C-46B0-AC02-7DBF1B59BE41}"/>
              </a:ext>
            </a:extLst>
          </p:cNvPr>
          <p:cNvSpPr/>
          <p:nvPr/>
        </p:nvSpPr>
        <p:spPr>
          <a:xfrm>
            <a:off x="2315305" y="1199328"/>
            <a:ext cx="5255265" cy="590797"/>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ryptoServer</a:t>
            </a:r>
            <a:b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Se-Series 12/52/500/1500</a:t>
            </a:r>
          </a:p>
        </p:txBody>
      </p:sp>
      <p:sp>
        <p:nvSpPr>
          <p:cNvPr id="45" name="Rounded Rectangle 17">
            <a:extLst>
              <a:ext uri="{FF2B5EF4-FFF2-40B4-BE49-F238E27FC236}">
                <a16:creationId xmlns:a16="http://schemas.microsoft.com/office/drawing/2014/main" xmlns="" id="{726A5018-7371-4F06-82DF-6815B56B100A}"/>
              </a:ext>
            </a:extLst>
          </p:cNvPr>
          <p:cNvSpPr/>
          <p:nvPr/>
        </p:nvSpPr>
        <p:spPr>
          <a:xfrm>
            <a:off x="8125851" y="1199328"/>
            <a:ext cx="3480210" cy="590797"/>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ryptoServer</a:t>
            </a:r>
            <a:b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Se-Series 10/100</a:t>
            </a:r>
          </a:p>
        </p:txBody>
      </p:sp>
      <p:sp>
        <p:nvSpPr>
          <p:cNvPr id="46" name="Rounded Rectangle 41">
            <a:extLst>
              <a:ext uri="{FF2B5EF4-FFF2-40B4-BE49-F238E27FC236}">
                <a16:creationId xmlns:a16="http://schemas.microsoft.com/office/drawing/2014/main" xmlns="" id="{E4A49AC7-B231-4545-ABC3-C6B69E16E141}"/>
              </a:ext>
            </a:extLst>
          </p:cNvPr>
          <p:cNvSpPr/>
          <p:nvPr/>
        </p:nvSpPr>
        <p:spPr>
          <a:xfrm>
            <a:off x="515522" y="3501552"/>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TimestampServer</a:t>
            </a: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Rounded Rectangle 9">
            <a:extLst>
              <a:ext uri="{FF2B5EF4-FFF2-40B4-BE49-F238E27FC236}">
                <a16:creationId xmlns:a16="http://schemas.microsoft.com/office/drawing/2014/main" xmlns="" id="{7B043243-0908-4958-9D01-8077B01717A2}"/>
              </a:ext>
            </a:extLst>
          </p:cNvPr>
          <p:cNvSpPr/>
          <p:nvPr/>
        </p:nvSpPr>
        <p:spPr>
          <a:xfrm>
            <a:off x="4102671" y="3506034"/>
            <a:ext cx="1661942" cy="57775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RFC 3161,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TS API</a:t>
            </a:r>
          </a:p>
        </p:txBody>
      </p:sp>
      <p:sp>
        <p:nvSpPr>
          <p:cNvPr id="48" name="Rounded Rectangle 39">
            <a:extLst>
              <a:ext uri="{FF2B5EF4-FFF2-40B4-BE49-F238E27FC236}">
                <a16:creationId xmlns:a16="http://schemas.microsoft.com/office/drawing/2014/main" xmlns="" id="{71D876A7-F35C-4A07-907D-6B2EBBD392AC}"/>
              </a:ext>
            </a:extLst>
          </p:cNvPr>
          <p:cNvSpPr/>
          <p:nvPr/>
        </p:nvSpPr>
        <p:spPr>
          <a:xfrm>
            <a:off x="2315307" y="4992254"/>
            <a:ext cx="9290757"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Development Kit for CryptoServer Firmware Development</a:t>
            </a:r>
          </a:p>
        </p:txBody>
      </p:sp>
      <p:sp>
        <p:nvSpPr>
          <p:cNvPr id="49" name="Rounded Rectangle 42">
            <a:extLst>
              <a:ext uri="{FF2B5EF4-FFF2-40B4-BE49-F238E27FC236}">
                <a16:creationId xmlns:a16="http://schemas.microsoft.com/office/drawing/2014/main" xmlns="" id="{437426BC-C607-4C2B-91C6-E068D706A073}"/>
              </a:ext>
            </a:extLst>
          </p:cNvPr>
          <p:cNvSpPr/>
          <p:nvPr/>
        </p:nvSpPr>
        <p:spPr>
          <a:xfrm>
            <a:off x="515523" y="4992254"/>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ryptoServer SDK</a:t>
            </a:r>
          </a:p>
        </p:txBody>
      </p:sp>
      <p:sp>
        <p:nvSpPr>
          <p:cNvPr id="50" name="Rounded Rectangle 39">
            <a:extLst>
              <a:ext uri="{FF2B5EF4-FFF2-40B4-BE49-F238E27FC236}">
                <a16:creationId xmlns:a16="http://schemas.microsoft.com/office/drawing/2014/main" xmlns="" id="{017213D2-B5D6-4986-A889-25382200DF24}"/>
              </a:ext>
            </a:extLst>
          </p:cNvPr>
          <p:cNvSpPr/>
          <p:nvPr/>
        </p:nvSpPr>
        <p:spPr>
          <a:xfrm>
            <a:off x="2315307" y="5732580"/>
            <a:ext cx="9290757"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Arial" panose="020B0604020202020204"/>
                <a:ea typeface="+mn-ea"/>
                <a:cs typeface="+mn-cs"/>
              </a:rPr>
              <a:t>Development Kit </a:t>
            </a:r>
            <a:r>
              <a:rPr kumimoji="0" lang="de-DE" sz="1400" b="0" i="0" u="none" strike="noStrike" kern="1200" cap="none" spc="0" normalizeH="0" baseline="0" noProof="0" dirty="0" err="1">
                <a:ln>
                  <a:noFill/>
                </a:ln>
                <a:solidFill>
                  <a:prstClr val="black"/>
                </a:solidFill>
                <a:effectLst/>
                <a:uLnTx/>
                <a:uFillTx/>
                <a:latin typeface="Arial" panose="020B0604020202020204"/>
                <a:ea typeface="+mn-ea"/>
                <a:cs typeface="+mn-cs"/>
              </a:rPr>
              <a:t>for</a:t>
            </a:r>
            <a:r>
              <a:rPr kumimoji="0" lang="de-DE" sz="1400" b="0" i="0" u="none" strike="noStrike" kern="1200" cap="none" spc="0" normalizeH="0" baseline="0" noProof="0" dirty="0">
                <a:ln>
                  <a:noFill/>
                </a:ln>
                <a:solidFill>
                  <a:prstClr val="black"/>
                </a:solidFill>
                <a:effectLst/>
                <a:uLnTx/>
                <a:uFillTx/>
                <a:latin typeface="Arial" panose="020B0604020202020204"/>
                <a:ea typeface="+mn-ea"/>
                <a:cs typeface="+mn-cs"/>
              </a:rPr>
              <a:t> Scripting HSM </a:t>
            </a:r>
            <a:r>
              <a:rPr kumimoji="0" lang="de-DE" sz="1400" b="0" i="0" u="none" strike="noStrike" kern="1200" cap="none" spc="0" normalizeH="0" baseline="0" noProof="0" dirty="0" err="1">
                <a:ln>
                  <a:noFill/>
                </a:ln>
                <a:solidFill>
                  <a:prstClr val="black"/>
                </a:solidFill>
                <a:effectLst/>
                <a:uLnTx/>
                <a:uFillTx/>
                <a:latin typeface="Arial" panose="020B0604020202020204"/>
                <a:ea typeface="+mn-ea"/>
                <a:cs typeface="+mn-cs"/>
              </a:rPr>
              <a:t>Extensions</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Rounded Rectangle 42">
            <a:extLst>
              <a:ext uri="{FF2B5EF4-FFF2-40B4-BE49-F238E27FC236}">
                <a16:creationId xmlns:a16="http://schemas.microsoft.com/office/drawing/2014/main" xmlns="" id="{CD43631E-4C50-49D3-B8C7-CB10EC23C6B6}"/>
              </a:ext>
            </a:extLst>
          </p:cNvPr>
          <p:cNvSpPr/>
          <p:nvPr/>
        </p:nvSpPr>
        <p:spPr>
          <a:xfrm>
            <a:off x="515523" y="5732580"/>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ryptoScript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SDK</a:t>
            </a:r>
          </a:p>
        </p:txBody>
      </p:sp>
      <p:sp>
        <p:nvSpPr>
          <p:cNvPr id="52" name="Rounded Rectangle 40">
            <a:extLst>
              <a:ext uri="{FF2B5EF4-FFF2-40B4-BE49-F238E27FC236}">
                <a16:creationId xmlns:a16="http://schemas.microsoft.com/office/drawing/2014/main" xmlns="" id="{5687F865-48FC-42E1-8609-0BAD582C1577}"/>
              </a:ext>
            </a:extLst>
          </p:cNvPr>
          <p:cNvSpPr/>
          <p:nvPr/>
        </p:nvSpPr>
        <p:spPr>
          <a:xfrm>
            <a:off x="515523" y="4244662"/>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PaymentServer</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Rounded Rectangle 9">
            <a:extLst>
              <a:ext uri="{FF2B5EF4-FFF2-40B4-BE49-F238E27FC236}">
                <a16:creationId xmlns:a16="http://schemas.microsoft.com/office/drawing/2014/main" xmlns="" id="{CC0061A5-EFEA-489E-8AA6-D3DEB61C626E}"/>
              </a:ext>
            </a:extLst>
          </p:cNvPr>
          <p:cNvSpPr/>
          <p:nvPr/>
        </p:nvSpPr>
        <p:spPr>
          <a:xfrm>
            <a:off x="9944121" y="3498768"/>
            <a:ext cx="1661942" cy="57775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RFC 3161, </a:t>
            </a:r>
            <a:b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TS API</a:t>
            </a:r>
          </a:p>
        </p:txBody>
      </p:sp>
      <p:pic>
        <p:nvPicPr>
          <p:cNvPr id="59" name="Picture 58">
            <a:extLst>
              <a:ext uri="{FF2B5EF4-FFF2-40B4-BE49-F238E27FC236}">
                <a16:creationId xmlns:a16="http://schemas.microsoft.com/office/drawing/2014/main" xmlns="" id="{C539D877-A42F-4FFA-BCFE-2C93C8035E70}"/>
              </a:ext>
            </a:extLst>
          </p:cNvPr>
          <p:cNvPicPr>
            <a:picLocks noChangeAspect="1"/>
          </p:cNvPicPr>
          <p:nvPr/>
        </p:nvPicPr>
        <p:blipFill>
          <a:blip r:embed="rId3"/>
          <a:stretch>
            <a:fillRect/>
          </a:stretch>
        </p:blipFill>
        <p:spPr>
          <a:xfrm>
            <a:off x="3711237" y="1703912"/>
            <a:ext cx="2438405" cy="1057658"/>
          </a:xfrm>
          <a:prstGeom prst="rect">
            <a:avLst/>
          </a:prstGeom>
        </p:spPr>
      </p:pic>
      <p:pic>
        <p:nvPicPr>
          <p:cNvPr id="60" name="Picture 59">
            <a:extLst>
              <a:ext uri="{FF2B5EF4-FFF2-40B4-BE49-F238E27FC236}">
                <a16:creationId xmlns:a16="http://schemas.microsoft.com/office/drawing/2014/main" xmlns="" id="{41156BDF-924D-4353-9DA1-DA1913E41862}"/>
              </a:ext>
            </a:extLst>
          </p:cNvPr>
          <p:cNvPicPr>
            <a:picLocks noChangeAspect="1"/>
          </p:cNvPicPr>
          <p:nvPr/>
        </p:nvPicPr>
        <p:blipFill>
          <a:blip r:embed="rId4"/>
          <a:stretch>
            <a:fillRect/>
          </a:stretch>
        </p:blipFill>
        <p:spPr>
          <a:xfrm>
            <a:off x="6033099" y="1828675"/>
            <a:ext cx="1402416" cy="789561"/>
          </a:xfrm>
          <a:prstGeom prst="rect">
            <a:avLst/>
          </a:prstGeom>
        </p:spPr>
      </p:pic>
      <p:pic>
        <p:nvPicPr>
          <p:cNvPr id="61" name="Picture 60">
            <a:extLst>
              <a:ext uri="{FF2B5EF4-FFF2-40B4-BE49-F238E27FC236}">
                <a16:creationId xmlns:a16="http://schemas.microsoft.com/office/drawing/2014/main" xmlns="" id="{41294251-7587-44F8-8AC6-9C678E7B62B3}"/>
              </a:ext>
            </a:extLst>
          </p:cNvPr>
          <p:cNvPicPr>
            <a:picLocks noChangeAspect="1"/>
          </p:cNvPicPr>
          <p:nvPr/>
        </p:nvPicPr>
        <p:blipFill>
          <a:blip r:embed="rId3"/>
          <a:stretch>
            <a:fillRect/>
          </a:stretch>
        </p:blipFill>
        <p:spPr>
          <a:xfrm>
            <a:off x="9555889" y="1694626"/>
            <a:ext cx="2438405" cy="1057658"/>
          </a:xfrm>
          <a:prstGeom prst="rect">
            <a:avLst/>
          </a:prstGeom>
        </p:spPr>
      </p:pic>
      <p:sp>
        <p:nvSpPr>
          <p:cNvPr id="62" name="Rounded Rectangle 39">
            <a:extLst>
              <a:ext uri="{FF2B5EF4-FFF2-40B4-BE49-F238E27FC236}">
                <a16:creationId xmlns:a16="http://schemas.microsoft.com/office/drawing/2014/main" xmlns="" id="{849F1C5E-762F-45A8-B953-32CA07A7D727}"/>
              </a:ext>
            </a:extLst>
          </p:cNvPr>
          <p:cNvSpPr/>
          <p:nvPr/>
        </p:nvSpPr>
        <p:spPr>
          <a:xfrm>
            <a:off x="2315307" y="4242724"/>
            <a:ext cx="9290757"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EFTPOS</a:t>
            </a:r>
          </a:p>
        </p:txBody>
      </p:sp>
      <p:pic>
        <p:nvPicPr>
          <p:cNvPr id="63" name="Picture 62">
            <a:extLst>
              <a:ext uri="{FF2B5EF4-FFF2-40B4-BE49-F238E27FC236}">
                <a16:creationId xmlns:a16="http://schemas.microsoft.com/office/drawing/2014/main" xmlns="" id="{2373C241-4874-4E0D-ACD6-8CE51EE82ED7}"/>
              </a:ext>
            </a:extLst>
          </p:cNvPr>
          <p:cNvPicPr>
            <a:picLocks noChangeAspect="1"/>
          </p:cNvPicPr>
          <p:nvPr/>
        </p:nvPicPr>
        <p:blipFill>
          <a:blip r:embed="rId5"/>
          <a:stretch>
            <a:fillRect/>
          </a:stretch>
        </p:blipFill>
        <p:spPr>
          <a:xfrm>
            <a:off x="2626538" y="1877669"/>
            <a:ext cx="1135625" cy="796357"/>
          </a:xfrm>
          <a:prstGeom prst="rect">
            <a:avLst/>
          </a:prstGeom>
        </p:spPr>
      </p:pic>
      <p:pic>
        <p:nvPicPr>
          <p:cNvPr id="64" name="Picture 63">
            <a:extLst>
              <a:ext uri="{FF2B5EF4-FFF2-40B4-BE49-F238E27FC236}">
                <a16:creationId xmlns:a16="http://schemas.microsoft.com/office/drawing/2014/main" xmlns="" id="{76430A66-8212-4686-B1EC-F0AFB689AB45}"/>
              </a:ext>
            </a:extLst>
          </p:cNvPr>
          <p:cNvPicPr>
            <a:picLocks noChangeAspect="1"/>
          </p:cNvPicPr>
          <p:nvPr/>
        </p:nvPicPr>
        <p:blipFill>
          <a:blip r:embed="rId6"/>
          <a:stretch>
            <a:fillRect/>
          </a:stretch>
        </p:blipFill>
        <p:spPr>
          <a:xfrm>
            <a:off x="8451143" y="1769598"/>
            <a:ext cx="1182414" cy="914892"/>
          </a:xfrm>
          <a:prstGeom prst="rect">
            <a:avLst/>
          </a:prstGeom>
        </p:spPr>
      </p:pic>
    </p:spTree>
    <p:extLst>
      <p:ext uri="{BB962C8B-B14F-4D97-AF65-F5344CB8AC3E}">
        <p14:creationId xmlns:p14="http://schemas.microsoft.com/office/powerpoint/2010/main" val="11331842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2">
            <a:extLst>
              <a:ext uri="{FF2B5EF4-FFF2-40B4-BE49-F238E27FC236}">
                <a16:creationId xmlns:a16="http://schemas.microsoft.com/office/drawing/2014/main" xmlns="" id="{06EB212C-66C5-4C14-BF0F-96D7E149E591}"/>
              </a:ext>
            </a:extLst>
          </p:cNvPr>
          <p:cNvSpPr txBox="1">
            <a:spLocks/>
          </p:cNvSpPr>
          <p:nvPr/>
        </p:nvSpPr>
        <p:spPr>
          <a:xfrm>
            <a:off x="838199" y="762409"/>
            <a:ext cx="10515600" cy="427294"/>
          </a:xfrm>
          <a:prstGeom prst="rect">
            <a:avLst/>
          </a:prstGeom>
          <a:effectLst/>
        </p:spPr>
        <p:txBody>
          <a:bodyPr vert="horz" lIns="91440" tIns="45720" rIns="91440" bIns="45720" rtlCol="0">
            <a:noAutofit/>
          </a:bodyPr>
          <a:lstStyle>
            <a:lvl1pPr marL="0" indent="0" algn="l" defTabSz="914400" rtl="0" eaLnBrk="1" latinLnBrk="0" hangingPunct="1">
              <a:lnSpc>
                <a:spcPct val="90000"/>
              </a:lnSpc>
              <a:spcBef>
                <a:spcPts val="1000"/>
              </a:spcBef>
              <a:buClr>
                <a:srgbClr val="0068B4"/>
              </a:buClr>
              <a:buSzPct val="100000"/>
              <a:buFont typeface="Wingdings" panose="05000000000000000000" pitchFamily="2" charset="2"/>
              <a:buNone/>
              <a:defRPr sz="2000" kern="1200" baseline="0">
                <a:solidFill>
                  <a:srgbClr val="8F959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8F9597"/>
              </a:buClr>
              <a:buSzPct val="100000"/>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talla Hardware Security Modules</a:t>
            </a:r>
          </a:p>
          <a:p>
            <a:endParaRPr lang="en-US" dirty="0"/>
          </a:p>
        </p:txBody>
      </p:sp>
      <p:sp>
        <p:nvSpPr>
          <p:cNvPr id="33" name="Title 1">
            <a:extLst>
              <a:ext uri="{FF2B5EF4-FFF2-40B4-BE49-F238E27FC236}">
                <a16:creationId xmlns:a16="http://schemas.microsoft.com/office/drawing/2014/main" xmlns="" id="{BAF42348-C291-4AB4-AD3D-5AFD7C8DEB8F}"/>
              </a:ext>
            </a:extLst>
          </p:cNvPr>
          <p:cNvSpPr txBox="1">
            <a:spLocks/>
          </p:cNvSpPr>
          <p:nvPr/>
        </p:nvSpPr>
        <p:spPr>
          <a:xfrm>
            <a:off x="838199" y="74087"/>
            <a:ext cx="10515600" cy="5453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kern="1200">
                <a:solidFill>
                  <a:srgbClr val="0068B4"/>
                </a:solidFill>
                <a:latin typeface="Arial" panose="020B0604020202020204" pitchFamily="34" charset="0"/>
                <a:ea typeface="+mj-ea"/>
                <a:cs typeface="Arial" panose="020B0604020202020204" pitchFamily="34" charset="0"/>
              </a:defRPr>
            </a:lvl1pPr>
          </a:lstStyle>
          <a:p>
            <a:r>
              <a:rPr lang="en-US" dirty="0"/>
              <a:t>Atalla Payment Product Portfolio</a:t>
            </a:r>
          </a:p>
        </p:txBody>
      </p:sp>
      <p:sp>
        <p:nvSpPr>
          <p:cNvPr id="37" name="Rounded Rectangle 9">
            <a:extLst>
              <a:ext uri="{FF2B5EF4-FFF2-40B4-BE49-F238E27FC236}">
                <a16:creationId xmlns:a16="http://schemas.microsoft.com/office/drawing/2014/main" xmlns="" id="{F191AD93-8C60-4D08-9629-08FF75AED28D}"/>
              </a:ext>
            </a:extLst>
          </p:cNvPr>
          <p:cNvSpPr/>
          <p:nvPr/>
        </p:nvSpPr>
        <p:spPr>
          <a:xfrm>
            <a:off x="2312102" y="2768259"/>
            <a:ext cx="4163334" cy="57775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400" dirty="0">
                <a:solidFill>
                  <a:schemeClr val="dk1"/>
                </a:solidFill>
              </a:rPr>
              <a:t>Network</a:t>
            </a:r>
            <a:br>
              <a:rPr lang="en-US" sz="1400" dirty="0">
                <a:solidFill>
                  <a:schemeClr val="dk1"/>
                </a:solidFill>
              </a:rPr>
            </a:br>
            <a:r>
              <a:rPr lang="en-US" sz="1400" dirty="0">
                <a:solidFill>
                  <a:schemeClr val="dk1"/>
                </a:solidFill>
              </a:rPr>
              <a:t>attached</a:t>
            </a:r>
          </a:p>
        </p:txBody>
      </p:sp>
      <p:sp>
        <p:nvSpPr>
          <p:cNvPr id="38" name="Rounded Rectangle 11">
            <a:extLst>
              <a:ext uri="{FF2B5EF4-FFF2-40B4-BE49-F238E27FC236}">
                <a16:creationId xmlns:a16="http://schemas.microsoft.com/office/drawing/2014/main" xmlns="" id="{36053B79-BAED-4703-AFCC-2C8107EDEF9E}"/>
              </a:ext>
            </a:extLst>
          </p:cNvPr>
          <p:cNvSpPr/>
          <p:nvPr/>
        </p:nvSpPr>
        <p:spPr>
          <a:xfrm>
            <a:off x="2312103" y="3490031"/>
            <a:ext cx="8498656"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400" dirty="0">
                <a:solidFill>
                  <a:schemeClr val="dk1"/>
                </a:solidFill>
              </a:rPr>
              <a:t>(T)DES, AES, RSA, SHA, …</a:t>
            </a:r>
          </a:p>
        </p:txBody>
      </p:sp>
      <p:sp>
        <p:nvSpPr>
          <p:cNvPr id="39" name="Rounded Rectangle 12">
            <a:extLst>
              <a:ext uri="{FF2B5EF4-FFF2-40B4-BE49-F238E27FC236}">
                <a16:creationId xmlns:a16="http://schemas.microsoft.com/office/drawing/2014/main" xmlns="" id="{C523982C-94CE-4275-955F-6939EFE7F9C1}"/>
              </a:ext>
            </a:extLst>
          </p:cNvPr>
          <p:cNvSpPr/>
          <p:nvPr/>
        </p:nvSpPr>
        <p:spPr>
          <a:xfrm>
            <a:off x="2312102" y="4218224"/>
            <a:ext cx="4163334"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400" dirty="0"/>
              <a:t>FIPS 140-2 Level 3, </a:t>
            </a:r>
            <a:br>
              <a:rPr lang="en-US" sz="1400" dirty="0"/>
            </a:br>
            <a:r>
              <a:rPr lang="en-US" sz="1400" dirty="0"/>
              <a:t>PCI-HSM V1</a:t>
            </a:r>
          </a:p>
        </p:txBody>
      </p:sp>
      <p:sp>
        <p:nvSpPr>
          <p:cNvPr id="40" name="Rounded Rectangle 14">
            <a:extLst>
              <a:ext uri="{FF2B5EF4-FFF2-40B4-BE49-F238E27FC236}">
                <a16:creationId xmlns:a16="http://schemas.microsoft.com/office/drawing/2014/main" xmlns="" id="{A0FB9B77-A8A5-4418-BD79-6002EC9ABEAE}"/>
              </a:ext>
            </a:extLst>
          </p:cNvPr>
          <p:cNvSpPr/>
          <p:nvPr/>
        </p:nvSpPr>
        <p:spPr>
          <a:xfrm>
            <a:off x="512318" y="2769951"/>
            <a:ext cx="1655600"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Physical</a:t>
            </a:r>
            <a:br>
              <a:rPr lang="en-US" sz="1400" dirty="0"/>
            </a:br>
            <a:r>
              <a:rPr lang="en-US" sz="1400" dirty="0"/>
              <a:t>Interface</a:t>
            </a:r>
          </a:p>
        </p:txBody>
      </p:sp>
      <p:sp>
        <p:nvSpPr>
          <p:cNvPr id="41" name="Rounded Rectangle 15">
            <a:extLst>
              <a:ext uri="{FF2B5EF4-FFF2-40B4-BE49-F238E27FC236}">
                <a16:creationId xmlns:a16="http://schemas.microsoft.com/office/drawing/2014/main" xmlns="" id="{880E40FE-55C7-4BFA-A734-2E9A451AF3ED}"/>
              </a:ext>
            </a:extLst>
          </p:cNvPr>
          <p:cNvSpPr/>
          <p:nvPr/>
        </p:nvSpPr>
        <p:spPr>
          <a:xfrm>
            <a:off x="512318" y="3490031"/>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Cryptographic Support</a:t>
            </a:r>
          </a:p>
        </p:txBody>
      </p:sp>
      <p:sp>
        <p:nvSpPr>
          <p:cNvPr id="42" name="Rounded Rectangle 16">
            <a:extLst>
              <a:ext uri="{FF2B5EF4-FFF2-40B4-BE49-F238E27FC236}">
                <a16:creationId xmlns:a16="http://schemas.microsoft.com/office/drawing/2014/main" xmlns="" id="{A68E412D-0D07-4B71-84EF-00B2DEBF7617}"/>
              </a:ext>
            </a:extLst>
          </p:cNvPr>
          <p:cNvSpPr/>
          <p:nvPr/>
        </p:nvSpPr>
        <p:spPr>
          <a:xfrm>
            <a:off x="512318" y="4223900"/>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400" dirty="0"/>
              <a:t>Certifications</a:t>
            </a:r>
          </a:p>
        </p:txBody>
      </p:sp>
      <p:sp>
        <p:nvSpPr>
          <p:cNvPr id="49" name="Rounded Rectangle 17">
            <a:extLst>
              <a:ext uri="{FF2B5EF4-FFF2-40B4-BE49-F238E27FC236}">
                <a16:creationId xmlns:a16="http://schemas.microsoft.com/office/drawing/2014/main" xmlns="" id="{08A08941-FEAD-4FD9-8717-C00A1A71602B}"/>
              </a:ext>
            </a:extLst>
          </p:cNvPr>
          <p:cNvSpPr/>
          <p:nvPr/>
        </p:nvSpPr>
        <p:spPr>
          <a:xfrm>
            <a:off x="2315306" y="1199328"/>
            <a:ext cx="4163334" cy="590797"/>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600" dirty="0">
                <a:solidFill>
                  <a:schemeClr val="dk1"/>
                </a:solidFill>
              </a:rPr>
              <a:t>Ax160-Series*</a:t>
            </a:r>
            <a:endParaRPr lang="en-US" sz="1600" dirty="0">
              <a:solidFill>
                <a:srgbClr val="FF0000"/>
              </a:solidFill>
            </a:endParaRPr>
          </a:p>
        </p:txBody>
      </p:sp>
      <p:sp>
        <p:nvSpPr>
          <p:cNvPr id="55" name="Rounded Rectangle 17">
            <a:extLst>
              <a:ext uri="{FF2B5EF4-FFF2-40B4-BE49-F238E27FC236}">
                <a16:creationId xmlns:a16="http://schemas.microsoft.com/office/drawing/2014/main" xmlns="" id="{041D064D-5F47-4153-A8C1-DD5CA941F826}"/>
              </a:ext>
            </a:extLst>
          </p:cNvPr>
          <p:cNvSpPr/>
          <p:nvPr/>
        </p:nvSpPr>
        <p:spPr>
          <a:xfrm>
            <a:off x="6647424" y="1188207"/>
            <a:ext cx="4163333" cy="590797"/>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600" dirty="0">
                <a:solidFill>
                  <a:schemeClr val="dk1"/>
                </a:solidFill>
              </a:rPr>
              <a:t>AT1000-Series</a:t>
            </a:r>
          </a:p>
        </p:txBody>
      </p:sp>
      <p:sp>
        <p:nvSpPr>
          <p:cNvPr id="23" name="Rounded Rectangle 12">
            <a:extLst>
              <a:ext uri="{FF2B5EF4-FFF2-40B4-BE49-F238E27FC236}">
                <a16:creationId xmlns:a16="http://schemas.microsoft.com/office/drawing/2014/main" xmlns="" id="{90EF2397-AF92-4EB7-BF7D-98F5AAE2ECFA}"/>
              </a:ext>
            </a:extLst>
          </p:cNvPr>
          <p:cNvSpPr/>
          <p:nvPr/>
        </p:nvSpPr>
        <p:spPr>
          <a:xfrm>
            <a:off x="6647424" y="4227778"/>
            <a:ext cx="4163334"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400" dirty="0"/>
              <a:t>FIPS 140-2 Level 3, </a:t>
            </a:r>
            <a:br>
              <a:rPr lang="en-US" sz="1400" dirty="0"/>
            </a:br>
            <a:r>
              <a:rPr lang="en-US" sz="1400" dirty="0"/>
              <a:t>PCI-HSM V3**</a:t>
            </a:r>
          </a:p>
        </p:txBody>
      </p:sp>
      <p:sp>
        <p:nvSpPr>
          <p:cNvPr id="24" name="Rounded Rectangle 9">
            <a:extLst>
              <a:ext uri="{FF2B5EF4-FFF2-40B4-BE49-F238E27FC236}">
                <a16:creationId xmlns:a16="http://schemas.microsoft.com/office/drawing/2014/main" xmlns="" id="{07749AB6-4E09-4FB3-8639-A89215AA6160}"/>
              </a:ext>
            </a:extLst>
          </p:cNvPr>
          <p:cNvSpPr/>
          <p:nvPr/>
        </p:nvSpPr>
        <p:spPr>
          <a:xfrm>
            <a:off x="6647424" y="2676742"/>
            <a:ext cx="4163334" cy="577756"/>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en-US" sz="1400" dirty="0">
                <a:solidFill>
                  <a:schemeClr val="dk1"/>
                </a:solidFill>
              </a:rPr>
              <a:t>Network</a:t>
            </a:r>
            <a:br>
              <a:rPr lang="en-US" sz="1400" dirty="0">
                <a:solidFill>
                  <a:schemeClr val="dk1"/>
                </a:solidFill>
              </a:rPr>
            </a:br>
            <a:r>
              <a:rPr lang="en-US" sz="1400" dirty="0">
                <a:solidFill>
                  <a:schemeClr val="dk1"/>
                </a:solidFill>
              </a:rPr>
              <a:t>attached</a:t>
            </a:r>
          </a:p>
        </p:txBody>
      </p:sp>
      <p:pic>
        <p:nvPicPr>
          <p:cNvPr id="27" name="Grafik 10">
            <a:extLst>
              <a:ext uri="{FF2B5EF4-FFF2-40B4-BE49-F238E27FC236}">
                <a16:creationId xmlns:a16="http://schemas.microsoft.com/office/drawing/2014/main" xmlns="" id="{FC911C83-BB47-49C6-8987-81901E7378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65231" y="1757226"/>
            <a:ext cx="3327718" cy="924366"/>
          </a:xfrm>
          <a:prstGeom prst="rect">
            <a:avLst/>
          </a:prstGeom>
        </p:spPr>
      </p:pic>
      <p:sp>
        <p:nvSpPr>
          <p:cNvPr id="2" name="Rectangle 1">
            <a:extLst>
              <a:ext uri="{FF2B5EF4-FFF2-40B4-BE49-F238E27FC236}">
                <a16:creationId xmlns:a16="http://schemas.microsoft.com/office/drawing/2014/main" xmlns="" id="{761D446D-C565-415D-A0FA-0D2E29B3C5D6}"/>
              </a:ext>
            </a:extLst>
          </p:cNvPr>
          <p:cNvSpPr/>
          <p:nvPr/>
        </p:nvSpPr>
        <p:spPr>
          <a:xfrm>
            <a:off x="7846206" y="5938356"/>
            <a:ext cx="2964551" cy="415498"/>
          </a:xfrm>
          <a:prstGeom prst="rect">
            <a:avLst/>
          </a:prstGeom>
        </p:spPr>
        <p:txBody>
          <a:bodyPr wrap="square">
            <a:spAutoFit/>
          </a:bodyPr>
          <a:lstStyle/>
          <a:p>
            <a:r>
              <a:rPr lang="en-US" sz="1050" dirty="0"/>
              <a:t>*	</a:t>
            </a:r>
            <a:r>
              <a:rPr lang="en-US" sz="1050" dirty="0" err="1"/>
              <a:t>EoS</a:t>
            </a:r>
            <a:r>
              <a:rPr lang="en-US" sz="1050" dirty="0"/>
              <a:t> and </a:t>
            </a:r>
            <a:r>
              <a:rPr lang="en-US" sz="1050" dirty="0" err="1"/>
              <a:t>EoSL</a:t>
            </a:r>
            <a:r>
              <a:rPr lang="en-US" sz="1050" dirty="0"/>
              <a:t> announced</a:t>
            </a:r>
          </a:p>
          <a:p>
            <a:r>
              <a:rPr lang="en-US" sz="1050" dirty="0"/>
              <a:t>**	in progress</a:t>
            </a:r>
            <a:endParaRPr lang="de-DE" sz="1050" dirty="0"/>
          </a:p>
        </p:txBody>
      </p:sp>
      <p:pic>
        <p:nvPicPr>
          <p:cNvPr id="16" name="Picture 15">
            <a:extLst>
              <a:ext uri="{FF2B5EF4-FFF2-40B4-BE49-F238E27FC236}">
                <a16:creationId xmlns:a16="http://schemas.microsoft.com/office/drawing/2014/main" xmlns="" id="{18575669-5203-4544-8A6C-358D28EBC2D5}"/>
              </a:ext>
            </a:extLst>
          </p:cNvPr>
          <p:cNvPicPr>
            <a:picLocks noChangeAspect="1"/>
          </p:cNvPicPr>
          <p:nvPr/>
        </p:nvPicPr>
        <p:blipFill>
          <a:blip r:embed="rId4"/>
          <a:stretch>
            <a:fillRect/>
          </a:stretch>
        </p:blipFill>
        <p:spPr>
          <a:xfrm>
            <a:off x="3027941" y="1867274"/>
            <a:ext cx="2731656" cy="858981"/>
          </a:xfrm>
          <a:prstGeom prst="rect">
            <a:avLst/>
          </a:prstGeom>
        </p:spPr>
      </p:pic>
      <p:sp>
        <p:nvSpPr>
          <p:cNvPr id="17" name="Rounded Rectangle 12">
            <a:extLst>
              <a:ext uri="{FF2B5EF4-FFF2-40B4-BE49-F238E27FC236}">
                <a16:creationId xmlns:a16="http://schemas.microsoft.com/office/drawing/2014/main" xmlns="" id="{C523982C-94CE-4275-955F-6939EFE7F9C1}"/>
              </a:ext>
            </a:extLst>
          </p:cNvPr>
          <p:cNvSpPr/>
          <p:nvPr/>
        </p:nvSpPr>
        <p:spPr>
          <a:xfrm>
            <a:off x="2312102" y="4989055"/>
            <a:ext cx="4163334"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a:ea typeface="+mn-ea"/>
                <a:cs typeface="+mn-cs"/>
              </a:rPr>
              <a:t>80/100/1060</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Rounded Rectangle 16">
            <a:extLst>
              <a:ext uri="{FF2B5EF4-FFF2-40B4-BE49-F238E27FC236}">
                <a16:creationId xmlns:a16="http://schemas.microsoft.com/office/drawing/2014/main" xmlns="" id="{A68E412D-0D07-4B71-84EF-00B2DEBF7617}"/>
              </a:ext>
            </a:extLst>
          </p:cNvPr>
          <p:cNvSpPr/>
          <p:nvPr/>
        </p:nvSpPr>
        <p:spPr>
          <a:xfrm>
            <a:off x="512318" y="4994731"/>
            <a:ext cx="1655768" cy="576064"/>
          </a:xfrm>
          <a:prstGeom prst="roundRect">
            <a:avLst/>
          </a:prstGeom>
          <a:ln w="127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solidFill>
                <a:effectLst/>
                <a:uLnTx/>
                <a:uFillTx/>
                <a:latin typeface="Arial" panose="020B0604020202020204"/>
                <a:ea typeface="+mn-ea"/>
                <a:cs typeface="+mn-cs"/>
              </a:rPr>
              <a:t>PIN </a:t>
            </a:r>
            <a:r>
              <a:rPr kumimoji="0" lang="en-US" sz="1400" b="0" i="0" u="none" strike="noStrike" kern="1200" cap="none" spc="0" normalizeH="0" baseline="0" noProof="0" dirty="0" smtClean="0">
                <a:ln>
                  <a:noFill/>
                </a:ln>
                <a:solidFill>
                  <a:prstClr val="black"/>
                </a:solidFill>
                <a:effectLst/>
                <a:uLnTx/>
                <a:uFillTx/>
                <a:latin typeface="Arial" panose="020B0604020202020204"/>
                <a:ea typeface="+mn-ea"/>
                <a:cs typeface="+mn-cs"/>
              </a:rPr>
              <a:t>Performance</a:t>
            </a:r>
            <a:endPar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Rounded Rectangle 29">
            <a:extLst>
              <a:ext uri="{FF2B5EF4-FFF2-40B4-BE49-F238E27FC236}">
                <a16:creationId xmlns:a16="http://schemas.microsoft.com/office/drawing/2014/main" xmlns="" id="{D4F0EB9F-5964-4AAC-931E-09199CB782C6}"/>
              </a:ext>
            </a:extLst>
          </p:cNvPr>
          <p:cNvSpPr/>
          <p:nvPr/>
        </p:nvSpPr>
        <p:spPr>
          <a:xfrm>
            <a:off x="6647423" y="4992089"/>
            <a:ext cx="4163333" cy="576064"/>
          </a:xfrm>
          <a:prstGeom prst="roundRect">
            <a:avLst/>
          </a:prstGeom>
          <a:gradFill flip="none" rotWithShape="1">
            <a:gsLst>
              <a:gs pos="0">
                <a:schemeClr val="bg1">
                  <a:lumMod val="85000"/>
                </a:schemeClr>
              </a:gs>
              <a:gs pos="100000">
                <a:schemeClr val="bg1">
                  <a:lumMod val="95000"/>
                </a:schemeClr>
              </a:gs>
            </a:gsLst>
            <a:lin ang="5400000" scaled="1"/>
            <a:tileRect/>
          </a:gradFill>
          <a:ln>
            <a:noFill/>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lvl="0" algn="ctr" defTabSz="457200">
              <a:defRPr/>
            </a:pPr>
            <a:r>
              <a:rPr lang="en-US" sz="1400" dirty="0" smtClean="0">
                <a:solidFill>
                  <a:prstClr val="black"/>
                </a:solidFill>
              </a:rPr>
              <a:t>80/280/1060/10000</a:t>
            </a:r>
            <a:endParaRPr lang="en-US" sz="1400" dirty="0">
              <a:solidFill>
                <a:prstClr val="black"/>
              </a:solidFill>
            </a:endParaRPr>
          </a:p>
        </p:txBody>
      </p:sp>
    </p:spTree>
    <p:extLst>
      <p:ext uri="{BB962C8B-B14F-4D97-AF65-F5344CB8AC3E}">
        <p14:creationId xmlns:p14="http://schemas.microsoft.com/office/powerpoint/2010/main" val="191124025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timaco-HSM-Master-Slide">
  <a:themeElements>
    <a:clrScheme name="Custom 41">
      <a:dk1>
        <a:sysClr val="windowText" lastClr="000000"/>
      </a:dk1>
      <a:lt1>
        <a:sysClr val="window" lastClr="FFFFFF"/>
      </a:lt1>
      <a:dk2>
        <a:srgbClr val="C5C5C6"/>
      </a:dk2>
      <a:lt2>
        <a:srgbClr val="ECECEC"/>
      </a:lt2>
      <a:accent1>
        <a:srgbClr val="0068B4"/>
      </a:accent1>
      <a:accent2>
        <a:srgbClr val="64BAFF"/>
      </a:accent2>
      <a:accent3>
        <a:srgbClr val="900000"/>
      </a:accent3>
      <a:accent4>
        <a:srgbClr val="EB5B3F"/>
      </a:accent4>
      <a:accent5>
        <a:srgbClr val="FFC000"/>
      </a:accent5>
      <a:accent6>
        <a:srgbClr val="FFE697"/>
      </a:accent6>
      <a:hlink>
        <a:srgbClr val="008DF6"/>
      </a:hlink>
      <a:folHlink>
        <a:srgbClr val="64BA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defRPr sz="2100" dirty="0" smtClean="0">
            <a:solidFill>
              <a:srgbClr val="8F9597"/>
            </a:solidFill>
          </a:defRPr>
        </a:defPPr>
      </a:lstStyle>
    </a:txDef>
  </a:objectDefaults>
  <a:extraClrSchemeLst/>
  <a:extLst>
    <a:ext uri="{05A4C25C-085E-4340-85A3-A5531E510DB2}">
      <thm15:themeFamily xmlns:thm15="http://schemas.microsoft.com/office/thememl/2012/main" name="Utimaco_HSM_16-9_Template_2016_08_12_OM.potx" id="{1C952CE8-9033-4EF7-9D5B-7D900C2E8BE6}" vid="{05646AA3-895D-4640-9AF3-4683A3E65BE8}"/>
    </a:ext>
  </a:extLst>
</a:theme>
</file>

<file path=ppt/theme/theme2.xml><?xml version="1.0" encoding="utf-8"?>
<a:theme xmlns:a="http://schemas.openxmlformats.org/drawingml/2006/main" name="2_Utimaco-HSM-Master-Slide">
  <a:themeElements>
    <a:clrScheme name="Custom 41">
      <a:dk1>
        <a:sysClr val="windowText" lastClr="000000"/>
      </a:dk1>
      <a:lt1>
        <a:sysClr val="window" lastClr="FFFFFF"/>
      </a:lt1>
      <a:dk2>
        <a:srgbClr val="C5C5C6"/>
      </a:dk2>
      <a:lt2>
        <a:srgbClr val="ECECEC"/>
      </a:lt2>
      <a:accent1>
        <a:srgbClr val="0068B4"/>
      </a:accent1>
      <a:accent2>
        <a:srgbClr val="64BAFF"/>
      </a:accent2>
      <a:accent3>
        <a:srgbClr val="900000"/>
      </a:accent3>
      <a:accent4>
        <a:srgbClr val="EB5B3F"/>
      </a:accent4>
      <a:accent5>
        <a:srgbClr val="FFC000"/>
      </a:accent5>
      <a:accent6>
        <a:srgbClr val="FFE697"/>
      </a:accent6>
      <a:hlink>
        <a:srgbClr val="008DF6"/>
      </a:hlink>
      <a:folHlink>
        <a:srgbClr val="64BA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defRPr sz="2100" dirty="0" smtClean="0">
            <a:solidFill>
              <a:srgbClr val="8F9597"/>
            </a:solidFill>
          </a:defRPr>
        </a:defPPr>
      </a:lstStyle>
    </a:txDef>
  </a:objectDefaults>
  <a:extraClrSchemeLst/>
  <a:extLst>
    <a:ext uri="{05A4C25C-085E-4340-85A3-A5531E510DB2}">
      <thm15:themeFamily xmlns:thm15="http://schemas.microsoft.com/office/thememl/2012/main" name="Utimaco_HSM_16-9_Template_2016_08_12_OM.potx" id="{1C952CE8-9033-4EF7-9D5B-7D900C2E8BE6}" vid="{05646AA3-895D-4640-9AF3-4683A3E65BE8}"/>
    </a:ext>
  </a:extLst>
</a:theme>
</file>

<file path=ppt/theme/theme3.xml><?xml version="1.0" encoding="utf-8"?>
<a:theme xmlns:a="http://schemas.openxmlformats.org/drawingml/2006/main" name="1_Utimaco-HSM-Master-Slide">
  <a:themeElements>
    <a:clrScheme name="Custom 41">
      <a:dk1>
        <a:sysClr val="windowText" lastClr="000000"/>
      </a:dk1>
      <a:lt1>
        <a:sysClr val="window" lastClr="FFFFFF"/>
      </a:lt1>
      <a:dk2>
        <a:srgbClr val="C5C5C6"/>
      </a:dk2>
      <a:lt2>
        <a:srgbClr val="ECECEC"/>
      </a:lt2>
      <a:accent1>
        <a:srgbClr val="0068B4"/>
      </a:accent1>
      <a:accent2>
        <a:srgbClr val="64BAFF"/>
      </a:accent2>
      <a:accent3>
        <a:srgbClr val="900000"/>
      </a:accent3>
      <a:accent4>
        <a:srgbClr val="EB5B3F"/>
      </a:accent4>
      <a:accent5>
        <a:srgbClr val="FFC000"/>
      </a:accent5>
      <a:accent6>
        <a:srgbClr val="FFE697"/>
      </a:accent6>
      <a:hlink>
        <a:srgbClr val="008DF6"/>
      </a:hlink>
      <a:folHlink>
        <a:srgbClr val="64BA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defRPr sz="2100" dirty="0" smtClean="0">
            <a:solidFill>
              <a:srgbClr val="8F9597"/>
            </a:solidFill>
          </a:defRPr>
        </a:defPPr>
      </a:lstStyle>
    </a:txDef>
  </a:objectDefaults>
  <a:extraClrSchemeLst/>
  <a:extLst>
    <a:ext uri="{05A4C25C-085E-4340-85A3-A5531E510DB2}">
      <thm15:themeFamily xmlns:thm15="http://schemas.microsoft.com/office/thememl/2012/main" name="Utimaco_HSM_16-9_Template_2016_08_12_OM.potx" id="{1C952CE8-9033-4EF7-9D5B-7D900C2E8BE6}" vid="{05646AA3-895D-4640-9AF3-4683A3E65B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timaco_HSM_16-9_Template_2016_08_16_OM</Template>
  <TotalTime>0</TotalTime>
  <Words>991</Words>
  <Application>Microsoft Office PowerPoint</Application>
  <PresentationFormat>Widescreen</PresentationFormat>
  <Paragraphs>133</Paragraphs>
  <Slides>12</Slides>
  <Notes>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2" baseType="lpstr">
      <vt:lpstr>Roboto</vt:lpstr>
      <vt:lpstr>Arial</vt:lpstr>
      <vt:lpstr>Calibri</vt:lpstr>
      <vt:lpstr>Times New Roman</vt:lpstr>
      <vt:lpstr>Wingdings</vt:lpstr>
      <vt:lpstr>Wingdings 2</vt:lpstr>
      <vt:lpstr>Utimaco-HSM-Master-Slide</vt:lpstr>
      <vt:lpstr>2_Utimaco-HSM-Master-Slide</vt:lpstr>
      <vt:lpstr>1_Utimaco-HSM-Master-Slide</vt:lpstr>
      <vt:lpstr>think-cell Slide</vt:lpstr>
      <vt:lpstr>Utimaco Company Profile    </vt:lpstr>
      <vt:lpstr>PowerPoint Presentation</vt:lpstr>
      <vt:lpstr>Utimaco Vision &amp; Mission </vt:lpstr>
      <vt:lpstr>PowerPoint Presentation</vt:lpstr>
      <vt:lpstr>Utimaco HSM</vt:lpstr>
      <vt:lpstr>Utimaco Product Protfolio </vt:lpstr>
      <vt:lpstr>PowerPoint Presentation</vt:lpstr>
      <vt:lpstr>Product Portfolio</vt:lpstr>
      <vt:lpstr>PowerPoint Presentation</vt:lpstr>
      <vt:lpstr>Utimaco Enterprise Secure Key Manager Overview</vt:lpstr>
      <vt:lpstr>SecurityServer</vt:lpstr>
      <vt:lpstr>Thank you for your atten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Preamble</dc:title>
  <dc:creator>Emilie Budde</dc:creator>
  <cp:lastModifiedBy>Pohsoon Teo</cp:lastModifiedBy>
  <cp:revision>374</cp:revision>
  <cp:lastPrinted>2019-03-24T11:14:23Z</cp:lastPrinted>
  <dcterms:created xsi:type="dcterms:W3CDTF">2016-09-22T13:25:44Z</dcterms:created>
  <dcterms:modified xsi:type="dcterms:W3CDTF">2019-05-16T03:46:10Z</dcterms:modified>
</cp:coreProperties>
</file>